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326" r:id="rId2"/>
    <p:sldId id="308" r:id="rId3"/>
    <p:sldId id="325" r:id="rId4"/>
    <p:sldId id="312" r:id="rId5"/>
    <p:sldId id="318" r:id="rId6"/>
    <p:sldId id="280" r:id="rId7"/>
    <p:sldId id="327" r:id="rId8"/>
    <p:sldId id="313" r:id="rId9"/>
    <p:sldId id="314" r:id="rId10"/>
    <p:sldId id="328" r:id="rId11"/>
    <p:sldId id="315" r:id="rId12"/>
    <p:sldId id="321" r:id="rId13"/>
    <p:sldId id="316" r:id="rId14"/>
    <p:sldId id="317" r:id="rId15"/>
    <p:sldId id="329" r:id="rId16"/>
    <p:sldId id="319" r:id="rId1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4489"/>
    <a:srgbClr val="E20025"/>
    <a:srgbClr val="28AE8A"/>
    <a:srgbClr val="6C247B"/>
    <a:srgbClr val="EB6926"/>
    <a:srgbClr val="2AAD89"/>
    <a:srgbClr val="212C56"/>
    <a:srgbClr val="48B170"/>
    <a:srgbClr val="E305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9BD88B-1AC7-4AAE-B71A-082AE6E35E9B}" v="32" dt="2022-06-13T14:09:59.3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45"/>
    <p:restoredTop sz="94236"/>
  </p:normalViewPr>
  <p:slideViewPr>
    <p:cSldViewPr snapToGrid="0" snapToObjects="1">
      <p:cViewPr varScale="1">
        <p:scale>
          <a:sx n="62" d="100"/>
          <a:sy n="62" d="100"/>
        </p:scale>
        <p:origin x="18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RQUET Matthias" userId="310beeae-fe38-4329-b199-f27384d64467" providerId="ADAL" clId="{A19BD88B-1AC7-4AAE-B71A-082AE6E35E9B}"/>
    <pc:docChg chg="undo redo custSel addSld modSld sldOrd">
      <pc:chgData name="TORQUET Matthias" userId="310beeae-fe38-4329-b199-f27384d64467" providerId="ADAL" clId="{A19BD88B-1AC7-4AAE-B71A-082AE6E35E9B}" dt="2022-06-13T14:10:20.565" v="971"/>
      <pc:docMkLst>
        <pc:docMk/>
      </pc:docMkLst>
      <pc:sldChg chg="modSp mod">
        <pc:chgData name="TORQUET Matthias" userId="310beeae-fe38-4329-b199-f27384d64467" providerId="ADAL" clId="{A19BD88B-1AC7-4AAE-B71A-082AE6E35E9B}" dt="2022-06-13T13:35:29.092" v="126"/>
        <pc:sldMkLst>
          <pc:docMk/>
          <pc:sldMk cId="1821485725" sldId="280"/>
        </pc:sldMkLst>
        <pc:spChg chg="mod">
          <ac:chgData name="TORQUET Matthias" userId="310beeae-fe38-4329-b199-f27384d64467" providerId="ADAL" clId="{A19BD88B-1AC7-4AAE-B71A-082AE6E35E9B}" dt="2022-06-13T13:35:29.092" v="126"/>
          <ac:spMkLst>
            <pc:docMk/>
            <pc:sldMk cId="1821485725" sldId="280"/>
            <ac:spMk id="3" creationId="{F34B51B9-D210-4610-911A-3594AE3B812C}"/>
          </ac:spMkLst>
        </pc:spChg>
      </pc:sldChg>
      <pc:sldChg chg="modSp mod">
        <pc:chgData name="TORQUET Matthias" userId="310beeae-fe38-4329-b199-f27384d64467" providerId="ADAL" clId="{A19BD88B-1AC7-4AAE-B71A-082AE6E35E9B}" dt="2022-06-13T13:31:10.796" v="81" actId="20577"/>
        <pc:sldMkLst>
          <pc:docMk/>
          <pc:sldMk cId="2413653248" sldId="308"/>
        </pc:sldMkLst>
        <pc:spChg chg="mod">
          <ac:chgData name="TORQUET Matthias" userId="310beeae-fe38-4329-b199-f27384d64467" providerId="ADAL" clId="{A19BD88B-1AC7-4AAE-B71A-082AE6E35E9B}" dt="2022-06-13T13:31:00.606" v="66" actId="20577"/>
          <ac:spMkLst>
            <pc:docMk/>
            <pc:sldMk cId="2413653248" sldId="308"/>
            <ac:spMk id="6" creationId="{95F5A0BE-5AC7-4785-AE94-60226F4ADA63}"/>
          </ac:spMkLst>
        </pc:spChg>
        <pc:spChg chg="mod">
          <ac:chgData name="TORQUET Matthias" userId="310beeae-fe38-4329-b199-f27384d64467" providerId="ADAL" clId="{A19BD88B-1AC7-4AAE-B71A-082AE6E35E9B}" dt="2022-06-13T13:30:47.029" v="39" actId="20577"/>
          <ac:spMkLst>
            <pc:docMk/>
            <pc:sldMk cId="2413653248" sldId="308"/>
            <ac:spMk id="8" creationId="{EAF1C9E8-5BD3-49EF-B1FE-50C2C73C1792}"/>
          </ac:spMkLst>
        </pc:spChg>
        <pc:spChg chg="mod">
          <ac:chgData name="TORQUET Matthias" userId="310beeae-fe38-4329-b199-f27384d64467" providerId="ADAL" clId="{A19BD88B-1AC7-4AAE-B71A-082AE6E35E9B}" dt="2022-06-13T13:31:10.796" v="81" actId="20577"/>
          <ac:spMkLst>
            <pc:docMk/>
            <pc:sldMk cId="2413653248" sldId="308"/>
            <ac:spMk id="10" creationId="{44A13D92-93A1-4676-BBF6-A99010A2930D}"/>
          </ac:spMkLst>
        </pc:spChg>
      </pc:sldChg>
      <pc:sldChg chg="addSp delSp modSp mod ord">
        <pc:chgData name="TORQUET Matthias" userId="310beeae-fe38-4329-b199-f27384d64467" providerId="ADAL" clId="{A19BD88B-1AC7-4AAE-B71A-082AE6E35E9B}" dt="2022-06-13T13:54:32.503" v="482" actId="14100"/>
        <pc:sldMkLst>
          <pc:docMk/>
          <pc:sldMk cId="643009200" sldId="312"/>
        </pc:sldMkLst>
        <pc:spChg chg="add del mod">
          <ac:chgData name="TORQUET Matthias" userId="310beeae-fe38-4329-b199-f27384d64467" providerId="ADAL" clId="{A19BD88B-1AC7-4AAE-B71A-082AE6E35E9B}" dt="2022-06-13T13:32:11.070" v="93"/>
          <ac:spMkLst>
            <pc:docMk/>
            <pc:sldMk cId="643009200" sldId="312"/>
            <ac:spMk id="5" creationId="{B70908AD-CCBC-418A-9068-050C8969A1FC}"/>
          </ac:spMkLst>
        </pc:spChg>
        <pc:spChg chg="add del">
          <ac:chgData name="TORQUET Matthias" userId="310beeae-fe38-4329-b199-f27384d64467" providerId="ADAL" clId="{A19BD88B-1AC7-4AAE-B71A-082AE6E35E9B}" dt="2022-06-13T13:32:11.070" v="93"/>
          <ac:spMkLst>
            <pc:docMk/>
            <pc:sldMk cId="643009200" sldId="312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31:57.708" v="91"/>
          <ac:spMkLst>
            <pc:docMk/>
            <pc:sldMk cId="643009200" sldId="312"/>
            <ac:spMk id="9" creationId="{FC6DB497-984D-4F19-BCBB-4BB6DAF408E2}"/>
          </ac:spMkLst>
        </pc:spChg>
        <pc:spChg chg="mod">
          <ac:chgData name="TORQUET Matthias" userId="310beeae-fe38-4329-b199-f27384d64467" providerId="ADAL" clId="{A19BD88B-1AC7-4AAE-B71A-082AE6E35E9B}" dt="2022-06-13T13:32:14.914" v="94"/>
          <ac:spMkLst>
            <pc:docMk/>
            <pc:sldMk cId="643009200" sldId="312"/>
            <ac:spMk id="10" creationId="{DBD62DA8-C8CC-41EF-ABE7-1CDAF2766496}"/>
          </ac:spMkLst>
        </pc:spChg>
        <pc:spChg chg="add mod">
          <ac:chgData name="TORQUET Matthias" userId="310beeae-fe38-4329-b199-f27384d64467" providerId="ADAL" clId="{A19BD88B-1AC7-4AAE-B71A-082AE6E35E9B}" dt="2022-06-13T13:51:30.805" v="415"/>
          <ac:spMkLst>
            <pc:docMk/>
            <pc:sldMk cId="643009200" sldId="312"/>
            <ac:spMk id="13" creationId="{81F08330-74D5-4C68-AB21-93CE90FAC3E9}"/>
          </ac:spMkLst>
        </pc:spChg>
        <pc:spChg chg="add mod">
          <ac:chgData name="TORQUET Matthias" userId="310beeae-fe38-4329-b199-f27384d64467" providerId="ADAL" clId="{A19BD88B-1AC7-4AAE-B71A-082AE6E35E9B}" dt="2022-06-13T13:54:22.550" v="479" actId="6549"/>
          <ac:spMkLst>
            <pc:docMk/>
            <pc:sldMk cId="643009200" sldId="312"/>
            <ac:spMk id="14" creationId="{462D8B38-A48C-4AF8-8472-83AE0B22D5A1}"/>
          </ac:spMkLst>
        </pc:spChg>
        <pc:grpChg chg="add del mod">
          <ac:chgData name="TORQUET Matthias" userId="310beeae-fe38-4329-b199-f27384d64467" providerId="ADAL" clId="{A19BD88B-1AC7-4AAE-B71A-082AE6E35E9B}" dt="2022-06-13T13:32:21.961" v="95"/>
          <ac:grpSpMkLst>
            <pc:docMk/>
            <pc:sldMk cId="643009200" sldId="312"/>
            <ac:grpSpMk id="6" creationId="{A7B38AF1-1FBD-4850-8F75-E2C0342A9D61}"/>
          </ac:grpSpMkLst>
        </pc:grpChg>
        <pc:grpChg chg="mod">
          <ac:chgData name="TORQUET Matthias" userId="310beeae-fe38-4329-b199-f27384d64467" providerId="ADAL" clId="{A19BD88B-1AC7-4AAE-B71A-082AE6E35E9B}" dt="2022-06-13T13:32:14.914" v="94"/>
          <ac:grpSpMkLst>
            <pc:docMk/>
            <pc:sldMk cId="643009200" sldId="312"/>
            <ac:grpSpMk id="8" creationId="{AC6A16AA-14FD-463C-8B78-1591D7FE4D15}"/>
          </ac:grpSpMkLst>
        </pc:grpChg>
        <pc:picChg chg="mod">
          <ac:chgData name="TORQUET Matthias" userId="310beeae-fe38-4329-b199-f27384d64467" providerId="ADAL" clId="{A19BD88B-1AC7-4AAE-B71A-082AE6E35E9B}" dt="2022-06-13T13:32:36.117" v="97" actId="1076"/>
          <ac:picMkLst>
            <pc:docMk/>
            <pc:sldMk cId="643009200" sldId="312"/>
            <ac:picMk id="2" creationId="{0E7DFC70-73A5-42C9-AE0E-127A55A2957D}"/>
          </ac:picMkLst>
        </pc:picChg>
        <pc:picChg chg="mod">
          <ac:chgData name="TORQUET Matthias" userId="310beeae-fe38-4329-b199-f27384d64467" providerId="ADAL" clId="{A19BD88B-1AC7-4AAE-B71A-082AE6E35E9B}" dt="2022-06-13T13:54:32.503" v="482" actId="14100"/>
          <ac:picMkLst>
            <pc:docMk/>
            <pc:sldMk cId="643009200" sldId="312"/>
            <ac:picMk id="3" creationId="{B904784D-15CF-446C-9155-4B82ED481656}"/>
          </ac:picMkLst>
        </pc:picChg>
        <pc:picChg chg="mod">
          <ac:chgData name="TORQUET Matthias" userId="310beeae-fe38-4329-b199-f27384d64467" providerId="ADAL" clId="{A19BD88B-1AC7-4AAE-B71A-082AE6E35E9B}" dt="2022-06-13T13:32:14.914" v="94"/>
          <ac:picMkLst>
            <pc:docMk/>
            <pc:sldMk cId="643009200" sldId="312"/>
            <ac:picMk id="11" creationId="{DCD0DBF9-333C-43E6-B527-FFC4C9E89D0C}"/>
          </ac:picMkLst>
        </pc:picChg>
        <pc:picChg chg="mod">
          <ac:chgData name="TORQUET Matthias" userId="310beeae-fe38-4329-b199-f27384d64467" providerId="ADAL" clId="{A19BD88B-1AC7-4AAE-B71A-082AE6E35E9B}" dt="2022-06-13T13:32:14.914" v="94"/>
          <ac:picMkLst>
            <pc:docMk/>
            <pc:sldMk cId="643009200" sldId="312"/>
            <ac:picMk id="12" creationId="{1AE87BC0-20F5-4A58-80A9-4E9E270E42E5}"/>
          </ac:picMkLst>
        </pc:picChg>
      </pc:sldChg>
      <pc:sldChg chg="addSp delSp modSp add mod">
        <pc:chgData name="TORQUET Matthias" userId="310beeae-fe38-4329-b199-f27384d64467" providerId="ADAL" clId="{A19BD88B-1AC7-4AAE-B71A-082AE6E35E9B}" dt="2022-06-13T14:04:53.573" v="654" actId="113"/>
        <pc:sldMkLst>
          <pc:docMk/>
          <pc:sldMk cId="405961181" sldId="313"/>
        </pc:sldMkLst>
        <pc:spChg chg="add del">
          <ac:chgData name="TORQUET Matthias" userId="310beeae-fe38-4329-b199-f27384d64467" providerId="ADAL" clId="{A19BD88B-1AC7-4AAE-B71A-082AE6E35E9B}" dt="2022-06-13T13:37:09.503" v="148" actId="22"/>
          <ac:spMkLst>
            <pc:docMk/>
            <pc:sldMk cId="405961181" sldId="313"/>
            <ac:spMk id="6" creationId="{78AC3A2D-27EF-4B28-B01C-30E30D7A404B}"/>
          </ac:spMkLst>
        </pc:spChg>
        <pc:spChg chg="mod">
          <ac:chgData name="TORQUET Matthias" userId="310beeae-fe38-4329-b199-f27384d64467" providerId="ADAL" clId="{A19BD88B-1AC7-4AAE-B71A-082AE6E35E9B}" dt="2022-06-13T14:04:53.573" v="654" actId="113"/>
          <ac:spMkLst>
            <pc:docMk/>
            <pc:sldMk cId="405961181" sldId="313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55:07.603" v="484" actId="20577"/>
          <ac:spMkLst>
            <pc:docMk/>
            <pc:sldMk cId="405961181" sldId="313"/>
            <ac:spMk id="9" creationId="{FC6DB497-984D-4F19-BCBB-4BB6DAF408E2}"/>
          </ac:spMkLst>
        </pc:spChg>
        <pc:graphicFrameChg chg="add mod modGraphic">
          <ac:chgData name="TORQUET Matthias" userId="310beeae-fe38-4329-b199-f27384d64467" providerId="ADAL" clId="{A19BD88B-1AC7-4AAE-B71A-082AE6E35E9B}" dt="2022-06-13T13:37:39.651" v="155" actId="207"/>
          <ac:graphicFrameMkLst>
            <pc:docMk/>
            <pc:sldMk cId="405961181" sldId="313"/>
            <ac:graphicFrameMk id="8" creationId="{4A0C8E8D-5E57-4B5D-A28B-0E9F377AEBE0}"/>
          </ac:graphicFrameMkLst>
        </pc:graphicFrameChg>
        <pc:graphicFrameChg chg="add mod modGraphic">
          <ac:chgData name="TORQUET Matthias" userId="310beeae-fe38-4329-b199-f27384d64467" providerId="ADAL" clId="{A19BD88B-1AC7-4AAE-B71A-082AE6E35E9B}" dt="2022-06-13T13:38:13.479" v="164" actId="207"/>
          <ac:graphicFrameMkLst>
            <pc:docMk/>
            <pc:sldMk cId="405961181" sldId="313"/>
            <ac:graphicFrameMk id="10" creationId="{BA13E716-0D90-47D0-810A-2E4021711877}"/>
          </ac:graphicFrameMkLst>
        </pc:graphicFrameChg>
        <pc:graphicFrameChg chg="add mod modGraphic">
          <ac:chgData name="TORQUET Matthias" userId="310beeae-fe38-4329-b199-f27384d64467" providerId="ADAL" clId="{A19BD88B-1AC7-4AAE-B71A-082AE6E35E9B}" dt="2022-06-13T13:38:16.438" v="165" actId="207"/>
          <ac:graphicFrameMkLst>
            <pc:docMk/>
            <pc:sldMk cId="405961181" sldId="313"/>
            <ac:graphicFrameMk id="11" creationId="{017B2C3A-DA5A-4B7B-BA7C-DFC6CECFA351}"/>
          </ac:graphicFrameMkLst>
        </pc:graphicFrameChg>
      </pc:sldChg>
      <pc:sldChg chg="modSp add mod">
        <pc:chgData name="TORQUET Matthias" userId="310beeae-fe38-4329-b199-f27384d64467" providerId="ADAL" clId="{A19BD88B-1AC7-4AAE-B71A-082AE6E35E9B}" dt="2022-06-13T13:35:41.487" v="127"/>
        <pc:sldMkLst>
          <pc:docMk/>
          <pc:sldMk cId="881344105" sldId="314"/>
        </pc:sldMkLst>
        <pc:spChg chg="mod">
          <ac:chgData name="TORQUET Matthias" userId="310beeae-fe38-4329-b199-f27384d64467" providerId="ADAL" clId="{A19BD88B-1AC7-4AAE-B71A-082AE6E35E9B}" dt="2022-06-13T13:35:41.487" v="127"/>
          <ac:spMkLst>
            <pc:docMk/>
            <pc:sldMk cId="881344105" sldId="314"/>
            <ac:spMk id="3" creationId="{F34B51B9-D210-4610-911A-3594AE3B812C}"/>
          </ac:spMkLst>
        </pc:spChg>
        <pc:spChg chg="mod">
          <ac:chgData name="TORQUET Matthias" userId="310beeae-fe38-4329-b199-f27384d64467" providerId="ADAL" clId="{A19BD88B-1AC7-4AAE-B71A-082AE6E35E9B}" dt="2022-06-13T13:31:35.579" v="87" actId="20577"/>
          <ac:spMkLst>
            <pc:docMk/>
            <pc:sldMk cId="881344105" sldId="314"/>
            <ac:spMk id="18" creationId="{21E2DC39-35C1-274A-A3DE-E11E1F4111FC}"/>
          </ac:spMkLst>
        </pc:spChg>
      </pc:sldChg>
      <pc:sldChg chg="addSp modSp add mod">
        <pc:chgData name="TORQUET Matthias" userId="310beeae-fe38-4329-b199-f27384d64467" providerId="ADAL" clId="{A19BD88B-1AC7-4AAE-B71A-082AE6E35E9B}" dt="2022-06-13T13:55:30.573" v="493" actId="20577"/>
        <pc:sldMkLst>
          <pc:docMk/>
          <pc:sldMk cId="2942870889" sldId="315"/>
        </pc:sldMkLst>
        <pc:spChg chg="mod">
          <ac:chgData name="TORQUET Matthias" userId="310beeae-fe38-4329-b199-f27384d64467" providerId="ADAL" clId="{A19BD88B-1AC7-4AAE-B71A-082AE6E35E9B}" dt="2022-06-13T13:55:30.573" v="493" actId="20577"/>
          <ac:spMkLst>
            <pc:docMk/>
            <pc:sldMk cId="2942870889" sldId="315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39:37.429" v="179" actId="313"/>
          <ac:spMkLst>
            <pc:docMk/>
            <pc:sldMk cId="2942870889" sldId="315"/>
            <ac:spMk id="9" creationId="{FC6DB497-984D-4F19-BCBB-4BB6DAF408E2}"/>
          </ac:spMkLst>
        </pc:spChg>
        <pc:picChg chg="add mod">
          <ac:chgData name="TORQUET Matthias" userId="310beeae-fe38-4329-b199-f27384d64467" providerId="ADAL" clId="{A19BD88B-1AC7-4AAE-B71A-082AE6E35E9B}" dt="2022-06-13T13:39:06.462" v="170" actId="1076"/>
          <ac:picMkLst>
            <pc:docMk/>
            <pc:sldMk cId="2942870889" sldId="315"/>
            <ac:picMk id="5" creationId="{4B5E3099-47C3-415B-BDF4-7B9176F7922C}"/>
          </ac:picMkLst>
        </pc:picChg>
        <pc:picChg chg="add mod">
          <ac:chgData name="TORQUET Matthias" userId="310beeae-fe38-4329-b199-f27384d64467" providerId="ADAL" clId="{A19BD88B-1AC7-4AAE-B71A-082AE6E35E9B}" dt="2022-06-13T13:39:18.415" v="176" actId="1076"/>
          <ac:picMkLst>
            <pc:docMk/>
            <pc:sldMk cId="2942870889" sldId="315"/>
            <ac:picMk id="6" creationId="{DAA5DD5E-D186-4DB3-B0E2-4A58C3BEDE67}"/>
          </ac:picMkLst>
        </pc:picChg>
      </pc:sldChg>
      <pc:sldChg chg="modSp add mod">
        <pc:chgData name="TORQUET Matthias" userId="310beeae-fe38-4329-b199-f27384d64467" providerId="ADAL" clId="{A19BD88B-1AC7-4AAE-B71A-082AE6E35E9B}" dt="2022-06-13T13:35:50.574" v="128"/>
        <pc:sldMkLst>
          <pc:docMk/>
          <pc:sldMk cId="471633388" sldId="316"/>
        </pc:sldMkLst>
        <pc:spChg chg="mod">
          <ac:chgData name="TORQUET Matthias" userId="310beeae-fe38-4329-b199-f27384d64467" providerId="ADAL" clId="{A19BD88B-1AC7-4AAE-B71A-082AE6E35E9B}" dt="2022-06-13T13:35:50.574" v="128"/>
          <ac:spMkLst>
            <pc:docMk/>
            <pc:sldMk cId="471633388" sldId="316"/>
            <ac:spMk id="3" creationId="{F34B51B9-D210-4610-911A-3594AE3B812C}"/>
          </ac:spMkLst>
        </pc:spChg>
        <pc:spChg chg="mod">
          <ac:chgData name="TORQUET Matthias" userId="310beeae-fe38-4329-b199-f27384d64467" providerId="ADAL" clId="{A19BD88B-1AC7-4AAE-B71A-082AE6E35E9B}" dt="2022-06-13T13:31:43.206" v="90" actId="20577"/>
          <ac:spMkLst>
            <pc:docMk/>
            <pc:sldMk cId="471633388" sldId="316"/>
            <ac:spMk id="18" creationId="{21E2DC39-35C1-274A-A3DE-E11E1F4111FC}"/>
          </ac:spMkLst>
        </pc:spChg>
      </pc:sldChg>
      <pc:sldChg chg="modSp add mod">
        <pc:chgData name="TORQUET Matthias" userId="310beeae-fe38-4329-b199-f27384d64467" providerId="ADAL" clId="{A19BD88B-1AC7-4AAE-B71A-082AE6E35E9B}" dt="2022-06-13T13:56:27.863" v="527" actId="113"/>
        <pc:sldMkLst>
          <pc:docMk/>
          <pc:sldMk cId="2419837247" sldId="317"/>
        </pc:sldMkLst>
        <pc:spChg chg="mod">
          <ac:chgData name="TORQUET Matthias" userId="310beeae-fe38-4329-b199-f27384d64467" providerId="ADAL" clId="{A19BD88B-1AC7-4AAE-B71A-082AE6E35E9B}" dt="2022-06-13T13:56:27.863" v="527" actId="113"/>
          <ac:spMkLst>
            <pc:docMk/>
            <pc:sldMk cId="2419837247" sldId="317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47:11.993" v="398" actId="20577"/>
          <ac:spMkLst>
            <pc:docMk/>
            <pc:sldMk cId="2419837247" sldId="317"/>
            <ac:spMk id="9" creationId="{FC6DB497-984D-4F19-BCBB-4BB6DAF408E2}"/>
          </ac:spMkLst>
        </pc:spChg>
      </pc:sldChg>
      <pc:sldChg chg="addSp delSp modSp add mod">
        <pc:chgData name="TORQUET Matthias" userId="310beeae-fe38-4329-b199-f27384d64467" providerId="ADAL" clId="{A19BD88B-1AC7-4AAE-B71A-082AE6E35E9B}" dt="2022-06-13T14:01:36.303" v="589" actId="947"/>
        <pc:sldMkLst>
          <pc:docMk/>
          <pc:sldMk cId="229094657" sldId="318"/>
        </pc:sldMkLst>
        <pc:spChg chg="add del mod">
          <ac:chgData name="TORQUET Matthias" userId="310beeae-fe38-4329-b199-f27384d64467" providerId="ADAL" clId="{A19BD88B-1AC7-4AAE-B71A-082AE6E35E9B}" dt="2022-06-13T14:01:36.303" v="589" actId="947"/>
          <ac:spMkLst>
            <pc:docMk/>
            <pc:sldMk cId="229094657" sldId="318"/>
            <ac:spMk id="6" creationId="{30C3B34A-D4BB-430C-B0D9-AC813C2A0D50}"/>
          </ac:spMkLst>
        </pc:spChg>
        <pc:spChg chg="mod">
          <ac:chgData name="TORQUET Matthias" userId="310beeae-fe38-4329-b199-f27384d64467" providerId="ADAL" clId="{A19BD88B-1AC7-4AAE-B71A-082AE6E35E9B}" dt="2022-06-13T14:01:33.642" v="588" actId="947"/>
          <ac:spMkLst>
            <pc:docMk/>
            <pc:sldMk cId="229094657" sldId="318"/>
            <ac:spMk id="9" creationId="{FC6DB497-984D-4F19-BCBB-4BB6DAF408E2}"/>
          </ac:spMkLst>
        </pc:spChg>
        <pc:spChg chg="del">
          <ac:chgData name="TORQUET Matthias" userId="310beeae-fe38-4329-b199-f27384d64467" providerId="ADAL" clId="{A19BD88B-1AC7-4AAE-B71A-082AE6E35E9B}" dt="2022-06-13T13:34:28.296" v="112" actId="478"/>
          <ac:spMkLst>
            <pc:docMk/>
            <pc:sldMk cId="229094657" sldId="318"/>
            <ac:spMk id="13" creationId="{81F08330-74D5-4C68-AB21-93CE90FAC3E9}"/>
          </ac:spMkLst>
        </pc:spChg>
        <pc:spChg chg="del">
          <ac:chgData name="TORQUET Matthias" userId="310beeae-fe38-4329-b199-f27384d64467" providerId="ADAL" clId="{A19BD88B-1AC7-4AAE-B71A-082AE6E35E9B}" dt="2022-06-13T13:34:15.146" v="107" actId="478"/>
          <ac:spMkLst>
            <pc:docMk/>
            <pc:sldMk cId="229094657" sldId="318"/>
            <ac:spMk id="14" creationId="{462D8B38-A48C-4AF8-8472-83AE0B22D5A1}"/>
          </ac:spMkLst>
        </pc:spChg>
        <pc:picChg chg="del">
          <ac:chgData name="TORQUET Matthias" userId="310beeae-fe38-4329-b199-f27384d64467" providerId="ADAL" clId="{A19BD88B-1AC7-4AAE-B71A-082AE6E35E9B}" dt="2022-06-13T13:34:16.603" v="108" actId="478"/>
          <ac:picMkLst>
            <pc:docMk/>
            <pc:sldMk cId="229094657" sldId="318"/>
            <ac:picMk id="2" creationId="{0E7DFC70-73A5-42C9-AE0E-127A55A2957D}"/>
          </ac:picMkLst>
        </pc:picChg>
        <pc:picChg chg="del">
          <ac:chgData name="TORQUET Matthias" userId="310beeae-fe38-4329-b199-f27384d64467" providerId="ADAL" clId="{A19BD88B-1AC7-4AAE-B71A-082AE6E35E9B}" dt="2022-06-13T13:34:28.813" v="113" actId="478"/>
          <ac:picMkLst>
            <pc:docMk/>
            <pc:sldMk cId="229094657" sldId="318"/>
            <ac:picMk id="3" creationId="{B904784D-15CF-446C-9155-4B82ED481656}"/>
          </ac:picMkLst>
        </pc:picChg>
        <pc:picChg chg="add mod">
          <ac:chgData name="TORQUET Matthias" userId="310beeae-fe38-4329-b199-f27384d64467" providerId="ADAL" clId="{A19BD88B-1AC7-4AAE-B71A-082AE6E35E9B}" dt="2022-06-13T13:35:11.893" v="124" actId="1076"/>
          <ac:picMkLst>
            <pc:docMk/>
            <pc:sldMk cId="229094657" sldId="318"/>
            <ac:picMk id="8" creationId="{104AD59D-0E35-4923-841C-60E91954AD6E}"/>
          </ac:picMkLst>
        </pc:picChg>
        <pc:picChg chg="add mod">
          <ac:chgData name="TORQUET Matthias" userId="310beeae-fe38-4329-b199-f27384d64467" providerId="ADAL" clId="{A19BD88B-1AC7-4AAE-B71A-082AE6E35E9B}" dt="2022-06-13T13:34:57.685" v="121" actId="14100"/>
          <ac:picMkLst>
            <pc:docMk/>
            <pc:sldMk cId="229094657" sldId="318"/>
            <ac:picMk id="11" creationId="{44F5B612-0F2D-4AF0-9847-0D33AF931ED5}"/>
          </ac:picMkLst>
        </pc:picChg>
        <pc:picChg chg="add mod">
          <ac:chgData name="TORQUET Matthias" userId="310beeae-fe38-4329-b199-f27384d64467" providerId="ADAL" clId="{A19BD88B-1AC7-4AAE-B71A-082AE6E35E9B}" dt="2022-06-13T13:34:55.109" v="120" actId="1076"/>
          <ac:picMkLst>
            <pc:docMk/>
            <pc:sldMk cId="229094657" sldId="318"/>
            <ac:picMk id="12" creationId="{2CC6BE32-934D-4037-BB64-FEB7EA080972}"/>
          </ac:picMkLst>
        </pc:picChg>
      </pc:sldChg>
      <pc:sldChg chg="modSp add mod ord">
        <pc:chgData name="TORQUET Matthias" userId="310beeae-fe38-4329-b199-f27384d64467" providerId="ADAL" clId="{A19BD88B-1AC7-4AAE-B71A-082AE6E35E9B}" dt="2022-06-13T14:10:20.565" v="971"/>
        <pc:sldMkLst>
          <pc:docMk/>
          <pc:sldMk cId="3701588328" sldId="319"/>
        </pc:sldMkLst>
        <pc:spChg chg="mod">
          <ac:chgData name="TORQUET Matthias" userId="310beeae-fe38-4329-b199-f27384d64467" providerId="ADAL" clId="{A19BD88B-1AC7-4AAE-B71A-082AE6E35E9B}" dt="2022-06-13T14:10:07.775" v="967" actId="20577"/>
          <ac:spMkLst>
            <pc:docMk/>
            <pc:sldMk cId="3701588328" sldId="319"/>
            <ac:spMk id="3" creationId="{F34B51B9-D210-4610-911A-3594AE3B812C}"/>
          </ac:spMkLst>
        </pc:spChg>
        <pc:spChg chg="mod">
          <ac:chgData name="TORQUET Matthias" userId="310beeae-fe38-4329-b199-f27384d64467" providerId="ADAL" clId="{A19BD88B-1AC7-4AAE-B71A-082AE6E35E9B}" dt="2022-06-13T14:10:03.948" v="952" actId="20577"/>
          <ac:spMkLst>
            <pc:docMk/>
            <pc:sldMk cId="3701588328" sldId="319"/>
            <ac:spMk id="18" creationId="{21E2DC39-35C1-274A-A3DE-E11E1F4111FC}"/>
          </ac:spMkLst>
        </pc:spChg>
      </pc:sldChg>
      <pc:sldChg chg="modSp add mod">
        <pc:chgData name="TORQUET Matthias" userId="310beeae-fe38-4329-b199-f27384d64467" providerId="ADAL" clId="{A19BD88B-1AC7-4AAE-B71A-082AE6E35E9B}" dt="2022-06-13T14:06:40.849" v="911" actId="20577"/>
        <pc:sldMkLst>
          <pc:docMk/>
          <pc:sldMk cId="2490176632" sldId="320"/>
        </pc:sldMkLst>
        <pc:spChg chg="mod">
          <ac:chgData name="TORQUET Matthias" userId="310beeae-fe38-4329-b199-f27384d64467" providerId="ADAL" clId="{A19BD88B-1AC7-4AAE-B71A-082AE6E35E9B}" dt="2022-06-13T14:06:40.849" v="911" actId="20577"/>
          <ac:spMkLst>
            <pc:docMk/>
            <pc:sldMk cId="2490176632" sldId="320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36:32.775" v="145" actId="20577"/>
          <ac:spMkLst>
            <pc:docMk/>
            <pc:sldMk cId="2490176632" sldId="320"/>
            <ac:spMk id="9" creationId="{FC6DB497-984D-4F19-BCBB-4BB6DAF408E2}"/>
          </ac:spMkLst>
        </pc:spChg>
      </pc:sldChg>
      <pc:sldChg chg="delSp modSp add mod">
        <pc:chgData name="TORQUET Matthias" userId="310beeae-fe38-4329-b199-f27384d64467" providerId="ADAL" clId="{A19BD88B-1AC7-4AAE-B71A-082AE6E35E9B}" dt="2022-06-13T14:01:22.228" v="587" actId="947"/>
        <pc:sldMkLst>
          <pc:docMk/>
          <pc:sldMk cId="4274963385" sldId="321"/>
        </pc:sldMkLst>
        <pc:spChg chg="mod">
          <ac:chgData name="TORQUET Matthias" userId="310beeae-fe38-4329-b199-f27384d64467" providerId="ADAL" clId="{A19BD88B-1AC7-4AAE-B71A-082AE6E35E9B}" dt="2022-06-13T14:01:22.228" v="587" actId="947"/>
          <ac:spMkLst>
            <pc:docMk/>
            <pc:sldMk cId="4274963385" sldId="321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3:39:35.154" v="178" actId="313"/>
          <ac:spMkLst>
            <pc:docMk/>
            <pc:sldMk cId="4274963385" sldId="321"/>
            <ac:spMk id="9" creationId="{FC6DB497-984D-4F19-BCBB-4BB6DAF408E2}"/>
          </ac:spMkLst>
        </pc:spChg>
        <pc:picChg chg="del">
          <ac:chgData name="TORQUET Matthias" userId="310beeae-fe38-4329-b199-f27384d64467" providerId="ADAL" clId="{A19BD88B-1AC7-4AAE-B71A-082AE6E35E9B}" dt="2022-06-13T13:42:39.420" v="297"/>
          <ac:picMkLst>
            <pc:docMk/>
            <pc:sldMk cId="4274963385" sldId="321"/>
            <ac:picMk id="2" creationId="{605DAA17-F19E-499C-9655-C52C05E42E94}"/>
          </ac:picMkLst>
        </pc:picChg>
        <pc:picChg chg="del mod">
          <ac:chgData name="TORQUET Matthias" userId="310beeae-fe38-4329-b199-f27384d64467" providerId="ADAL" clId="{A19BD88B-1AC7-4AAE-B71A-082AE6E35E9B}" dt="2022-06-13T13:43:05.331" v="304"/>
          <ac:picMkLst>
            <pc:docMk/>
            <pc:sldMk cId="4274963385" sldId="321"/>
            <ac:picMk id="3" creationId="{19BDB5DD-F76A-4272-A14C-29754B3B059C}"/>
          </ac:picMkLst>
        </pc:picChg>
        <pc:picChg chg="del">
          <ac:chgData name="TORQUET Matthias" userId="310beeae-fe38-4329-b199-f27384d64467" providerId="ADAL" clId="{A19BD88B-1AC7-4AAE-B71A-082AE6E35E9B}" dt="2022-06-13T13:39:39.647" v="180" actId="478"/>
          <ac:picMkLst>
            <pc:docMk/>
            <pc:sldMk cId="4274963385" sldId="321"/>
            <ac:picMk id="5" creationId="{4B5E3099-47C3-415B-BDF4-7B9176F7922C}"/>
          </ac:picMkLst>
        </pc:picChg>
        <pc:picChg chg="del">
          <ac:chgData name="TORQUET Matthias" userId="310beeae-fe38-4329-b199-f27384d64467" providerId="ADAL" clId="{A19BD88B-1AC7-4AAE-B71A-082AE6E35E9B}" dt="2022-06-13T13:39:40.070" v="181" actId="478"/>
          <ac:picMkLst>
            <pc:docMk/>
            <pc:sldMk cId="4274963385" sldId="321"/>
            <ac:picMk id="6" creationId="{DAA5DD5E-D186-4DB3-B0E2-4A58C3BEDE67}"/>
          </ac:picMkLst>
        </pc:picChg>
        <pc:picChg chg="mod">
          <ac:chgData name="TORQUET Matthias" userId="310beeae-fe38-4329-b199-f27384d64467" providerId="ADAL" clId="{A19BD88B-1AC7-4AAE-B71A-082AE6E35E9B}" dt="2022-06-13T14:00:21.842" v="580" actId="14100"/>
          <ac:picMkLst>
            <pc:docMk/>
            <pc:sldMk cId="4274963385" sldId="321"/>
            <ac:picMk id="8" creationId="{58526715-50AB-474A-B301-74D03CC33BDF}"/>
          </ac:picMkLst>
        </pc:picChg>
      </pc:sldChg>
      <pc:sldChg chg="modSp add mod">
        <pc:chgData name="TORQUET Matthias" userId="310beeae-fe38-4329-b199-f27384d64467" providerId="ADAL" clId="{A19BD88B-1AC7-4AAE-B71A-082AE6E35E9B}" dt="2022-06-13T14:09:43.712" v="946" actId="1076"/>
        <pc:sldMkLst>
          <pc:docMk/>
          <pc:sldMk cId="361239612" sldId="322"/>
        </pc:sldMkLst>
        <pc:spChg chg="mod">
          <ac:chgData name="TORQUET Matthias" userId="310beeae-fe38-4329-b199-f27384d64467" providerId="ADAL" clId="{A19BD88B-1AC7-4AAE-B71A-082AE6E35E9B}" dt="2022-06-13T14:08:13.471" v="942" actId="2710"/>
          <ac:spMkLst>
            <pc:docMk/>
            <pc:sldMk cId="361239612" sldId="322"/>
            <ac:spMk id="7" creationId="{0EAFD525-5DD2-4A23-861C-D44C1945913F}"/>
          </ac:spMkLst>
        </pc:spChg>
        <pc:spChg chg="mod">
          <ac:chgData name="TORQUET Matthias" userId="310beeae-fe38-4329-b199-f27384d64467" providerId="ADAL" clId="{A19BD88B-1AC7-4AAE-B71A-082AE6E35E9B}" dt="2022-06-13T14:07:30.613" v="939" actId="20577"/>
          <ac:spMkLst>
            <pc:docMk/>
            <pc:sldMk cId="361239612" sldId="322"/>
            <ac:spMk id="9" creationId="{FC6DB497-984D-4F19-BCBB-4BB6DAF408E2}"/>
          </ac:spMkLst>
        </pc:spChg>
        <pc:picChg chg="mod">
          <ac:chgData name="TORQUET Matthias" userId="310beeae-fe38-4329-b199-f27384d64467" providerId="ADAL" clId="{A19BD88B-1AC7-4AAE-B71A-082AE6E35E9B}" dt="2022-06-13T14:09:43.712" v="946" actId="1076"/>
          <ac:picMkLst>
            <pc:docMk/>
            <pc:sldMk cId="361239612" sldId="322"/>
            <ac:picMk id="2" creationId="{D890E036-4857-4D3A-BF4B-BFD231BFBB39}"/>
          </ac:picMkLst>
        </pc:picChg>
      </pc:sldChg>
      <pc:sldChg chg="add ord">
        <pc:chgData name="TORQUET Matthias" userId="310beeae-fe38-4329-b199-f27384d64467" providerId="ADAL" clId="{A19BD88B-1AC7-4AAE-B71A-082AE6E35E9B}" dt="2022-06-13T14:10:19.229" v="969"/>
        <pc:sldMkLst>
          <pc:docMk/>
          <pc:sldMk cId="1586958721" sldId="32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43271-EEBB-2B4E-8880-DC9842227EAA}" type="datetimeFigureOut">
              <a:rPr lang="fr-FR" smtClean="0"/>
              <a:t>19/05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B89924-F1AF-C14E-AE3A-5321AAF01E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7492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993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9912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2369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65852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41664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59745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B89924-F1AF-C14E-AE3A-5321AAF01E7E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1972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id="{A9AA964C-4E75-CA44-8194-4C3E81901F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0105" y="2371780"/>
            <a:ext cx="6225738" cy="12085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9085C0C-686D-654D-8E9C-8565BAC225F0}"/>
              </a:ext>
            </a:extLst>
          </p:cNvPr>
          <p:cNvSpPr/>
          <p:nvPr userDrawn="1"/>
        </p:nvSpPr>
        <p:spPr>
          <a:xfrm>
            <a:off x="3713948" y="6355663"/>
            <a:ext cx="8478052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C7D7F41-72C3-AA40-B71E-5E5A3A3BD012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3713950" cy="6355664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3A7CE824-2D0B-3B44-8CCF-E407E0F8B86F}"/>
              </a:ext>
            </a:extLst>
          </p:cNvPr>
          <p:cNvSpPr txBox="1"/>
          <p:nvPr userDrawn="1"/>
        </p:nvSpPr>
        <p:spPr>
          <a:xfrm>
            <a:off x="4840105" y="4053759"/>
            <a:ext cx="62257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fr-FR" sz="1800" b="0" i="0" u="none" strike="noStrike" kern="1200" baseline="0" dirty="0">
                <a:solidFill>
                  <a:srgbClr val="004489"/>
                </a:solidFill>
                <a:latin typeface="VINCI"/>
              </a:rPr>
              <a:t>FAIRE DE LA TERRE LE MEILLEUR ESPACE</a:t>
            </a:r>
            <a:br>
              <a:rPr lang="fr-FR" sz="1800" b="0" i="0" u="none" strike="noStrike" kern="1200" baseline="0" dirty="0">
                <a:solidFill>
                  <a:srgbClr val="004489"/>
                </a:solidFill>
                <a:latin typeface="VINCI"/>
              </a:rPr>
            </a:br>
            <a:r>
              <a:rPr lang="fr-FR" sz="1800" b="0" i="0" u="none" strike="noStrike" kern="1200" baseline="0" dirty="0">
                <a:solidFill>
                  <a:srgbClr val="004489"/>
                </a:solidFill>
                <a:latin typeface="VINCI"/>
              </a:rPr>
              <a:t>POUR LE STOCKAGE DE TOUTES LES ÉNERGIES</a:t>
            </a:r>
          </a:p>
        </p:txBody>
      </p:sp>
    </p:spTree>
    <p:extLst>
      <p:ext uri="{BB962C8B-B14F-4D97-AF65-F5344CB8AC3E}">
        <p14:creationId xmlns:p14="http://schemas.microsoft.com/office/powerpoint/2010/main" val="1841247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0B059A-670F-254D-A7E0-2AE14F0D36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43531" y="2988163"/>
            <a:ext cx="6622312" cy="1296152"/>
          </a:xfrm>
        </p:spPr>
        <p:txBody>
          <a:bodyPr anchor="b">
            <a:noAutofit/>
          </a:bodyPr>
          <a:lstStyle>
            <a:lvl1pPr algn="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Contact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A015C10-637C-BD44-8FA4-44C2D05E9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3531" y="4284315"/>
            <a:ext cx="6622312" cy="898860"/>
          </a:xfr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CDCA6C4-BF43-5E4D-897D-F3CEA0A4E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3531" y="5516800"/>
            <a:ext cx="6622312" cy="289159"/>
          </a:xfrm>
        </p:spPr>
        <p:txBody>
          <a:bodyPr>
            <a:noAutofit/>
          </a:bodyPr>
          <a:lstStyle>
            <a:lvl1pPr marL="0" indent="0" algn="r">
              <a:buNone/>
              <a:defRPr sz="1400" b="1" i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A5EB44D6-9CD3-0845-B09A-32CEC8E38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052" y="1056665"/>
            <a:ext cx="2587791" cy="50233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5B54487-3E22-7F45-BC7C-DD8ECDFA1D4B}"/>
              </a:ext>
            </a:extLst>
          </p:cNvPr>
          <p:cNvSpPr/>
          <p:nvPr userDrawn="1"/>
        </p:nvSpPr>
        <p:spPr>
          <a:xfrm>
            <a:off x="3713948" y="6355663"/>
            <a:ext cx="8478052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A977978-792D-2B4D-8B1D-293B307334A7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3713950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3676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rci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0B059A-670F-254D-A7E0-2AE14F0D36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43531" y="2988163"/>
            <a:ext cx="6622312" cy="1296152"/>
          </a:xfrm>
        </p:spPr>
        <p:txBody>
          <a:bodyPr anchor="b">
            <a:noAutofit/>
          </a:bodyPr>
          <a:lstStyle>
            <a:lvl1pPr algn="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erci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CDCA6C4-BF43-5E4D-897D-F3CEA0A4E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3531" y="5516800"/>
            <a:ext cx="6622312" cy="289159"/>
          </a:xfrm>
        </p:spPr>
        <p:txBody>
          <a:bodyPr>
            <a:noAutofit/>
          </a:bodyPr>
          <a:lstStyle>
            <a:lvl1pPr marL="0" indent="0" algn="r">
              <a:buNone/>
              <a:defRPr sz="1400" b="1" i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1222B8CE-04E7-3F4A-9E15-EC1168A63D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052" y="1056665"/>
            <a:ext cx="2587791" cy="502336"/>
          </a:xfrm>
          <a:prstGeom prst="rect">
            <a:avLst/>
          </a:prstGeom>
        </p:spPr>
      </p:pic>
      <p:sp>
        <p:nvSpPr>
          <p:cNvPr id="21" name="Sous-titre 2">
            <a:extLst>
              <a:ext uri="{FF2B5EF4-FFF2-40B4-BE49-F238E27FC236}">
                <a16:creationId xmlns:a16="http://schemas.microsoft.com/office/drawing/2014/main" id="{98C3E9F0-DE91-D341-BA8A-06F5328594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3531" y="4284315"/>
            <a:ext cx="6622312" cy="898860"/>
          </a:xfr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4FDD24-2C23-7143-96EC-DB513E4BE086}"/>
              </a:ext>
            </a:extLst>
          </p:cNvPr>
          <p:cNvSpPr/>
          <p:nvPr userDrawn="1"/>
        </p:nvSpPr>
        <p:spPr>
          <a:xfrm>
            <a:off x="3713948" y="6355663"/>
            <a:ext cx="8478052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0AA247A-7B5B-5846-8E19-40253D0E2F57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3713950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840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a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0B059A-670F-254D-A7E0-2AE14F0D36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43531" y="2988163"/>
            <a:ext cx="6622312" cy="1296152"/>
          </a:xfrm>
        </p:spPr>
        <p:txBody>
          <a:bodyPr anchor="b">
            <a:noAutofit/>
          </a:bodyPr>
          <a:lstStyle>
            <a:lvl1pPr algn="r">
              <a:defRPr sz="24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FAIRE DE LA TERRE</a:t>
            </a:r>
            <a:br>
              <a:rPr lang="fr-FR" dirty="0"/>
            </a:br>
            <a:r>
              <a:rPr lang="fr-FR" dirty="0"/>
              <a:t>LE MEILLEUR ESPACE</a:t>
            </a:r>
            <a:br>
              <a:rPr lang="fr-FR" dirty="0"/>
            </a:br>
            <a:r>
              <a:rPr lang="fr-FR" dirty="0"/>
              <a:t>POUR STOCKER</a:t>
            </a:r>
            <a:br>
              <a:rPr lang="fr-FR" dirty="0"/>
            </a:br>
            <a:r>
              <a:rPr lang="fr-FR" dirty="0"/>
              <a:t>TOUTES LES ÉNERGIE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CDCA6C4-BF43-5E4D-897D-F3CEA0A4E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3531" y="5516800"/>
            <a:ext cx="6622312" cy="289159"/>
          </a:xfrm>
        </p:spPr>
        <p:txBody>
          <a:bodyPr>
            <a:noAutofit/>
          </a:bodyPr>
          <a:lstStyle>
            <a:lvl1pPr marL="0" indent="0" algn="r">
              <a:buNone/>
              <a:defRPr sz="1400" b="1" i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9F31DBE-73DC-3142-9D22-2D63D01D93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052" y="1056665"/>
            <a:ext cx="2587791" cy="502336"/>
          </a:xfrm>
          <a:prstGeom prst="rect">
            <a:avLst/>
          </a:prstGeom>
        </p:spPr>
      </p:pic>
      <p:sp>
        <p:nvSpPr>
          <p:cNvPr id="17" name="Sous-titre 2">
            <a:extLst>
              <a:ext uri="{FF2B5EF4-FFF2-40B4-BE49-F238E27FC236}">
                <a16:creationId xmlns:a16="http://schemas.microsoft.com/office/drawing/2014/main" id="{35BAF5DD-F317-C845-86E3-DDE743B957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3531" y="4284315"/>
            <a:ext cx="6622312" cy="898860"/>
          </a:xfr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48D91A8-176C-ED49-8F16-21996DD2A65C}"/>
              </a:ext>
            </a:extLst>
          </p:cNvPr>
          <p:cNvSpPr/>
          <p:nvPr userDrawn="1"/>
        </p:nvSpPr>
        <p:spPr>
          <a:xfrm>
            <a:off x="3713948" y="6355663"/>
            <a:ext cx="8478052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7278AA2-CBAB-6945-8BB0-7AB776F2B8BC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3713950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788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0B059A-670F-254D-A7E0-2AE14F0D36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3531" y="2988163"/>
            <a:ext cx="6622313" cy="1296152"/>
          </a:xfrm>
        </p:spPr>
        <p:txBody>
          <a:bodyPr anchor="b">
            <a:noAutofit/>
          </a:bodyPr>
          <a:lstStyle>
            <a:lvl1pPr algn="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A015C10-637C-BD44-8FA4-44C2D05E9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3531" y="4284315"/>
            <a:ext cx="6622313" cy="898860"/>
          </a:xfrm>
        </p:spPr>
        <p:txBody>
          <a:bodyPr>
            <a:noAutofit/>
          </a:bodyPr>
          <a:lstStyle>
            <a:lvl1pPr marL="0" indent="0" algn="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CDCA6C4-BF43-5E4D-897D-F3CEA0A4E3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3531" y="5516800"/>
            <a:ext cx="6622313" cy="289159"/>
          </a:xfrm>
        </p:spPr>
        <p:txBody>
          <a:bodyPr>
            <a:noAutofit/>
          </a:bodyPr>
          <a:lstStyle>
            <a:lvl1pPr marL="0" indent="0" algn="r">
              <a:buNone/>
              <a:defRPr sz="140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9AA964C-4E75-CA44-8194-4C3E81901F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8052" y="1056665"/>
            <a:ext cx="2587791" cy="50233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9085C0C-686D-654D-8E9C-8565BAC225F0}"/>
              </a:ext>
            </a:extLst>
          </p:cNvPr>
          <p:cNvSpPr/>
          <p:nvPr userDrawn="1"/>
        </p:nvSpPr>
        <p:spPr>
          <a:xfrm>
            <a:off x="3713948" y="6355663"/>
            <a:ext cx="8478052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C7D7F41-72C3-AA40-B71E-5E5A3A3BD012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3713950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585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Bleu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DFEBB1-AF3F-194D-957C-47001F2FC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9163" y="4310680"/>
            <a:ext cx="8166679" cy="89886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A70ABAF-94CF-7048-B56F-07BD8C1366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99163" y="5236529"/>
            <a:ext cx="8166680" cy="582611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59BFEE3-7799-6E46-953E-2A58070DB2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99163" y="3185798"/>
            <a:ext cx="8166679" cy="898860"/>
          </a:xfrm>
        </p:spPr>
        <p:txBody>
          <a:bodyPr anchor="b">
            <a:noAutofit/>
          </a:bodyPr>
          <a:lstStyle>
            <a:lvl1pPr marL="0" indent="0">
              <a:buNone/>
              <a:defRPr sz="9600">
                <a:solidFill>
                  <a:schemeClr val="tx2"/>
                </a:solidFill>
                <a:latin typeface="Vinci Sans Expanded Medium" panose="020B0505040101020203" pitchFamily="34" charset="77"/>
              </a:defRPr>
            </a:lvl1pPr>
          </a:lstStyle>
          <a:p>
            <a:pPr lvl="0"/>
            <a:r>
              <a:rPr lang="fr-FR" dirty="0"/>
              <a:t>00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58AF152-E723-DC4E-9184-F71B8ED700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3"/>
            <a:ext cx="290696" cy="29069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E839FCB2-4D86-FF4C-97EE-6477070CE92D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2169583" cy="635566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563BB75-4F7A-8449-9511-1E0036B0143A}"/>
              </a:ext>
            </a:extLst>
          </p:cNvPr>
          <p:cNvSpPr/>
          <p:nvPr userDrawn="1"/>
        </p:nvSpPr>
        <p:spPr>
          <a:xfrm>
            <a:off x="2169581" y="6355663"/>
            <a:ext cx="10022419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8673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034DFFB-D235-CB46-AC99-0EAE9593D94E}"/>
              </a:ext>
            </a:extLst>
          </p:cNvPr>
          <p:cNvSpPr/>
          <p:nvPr userDrawn="1"/>
        </p:nvSpPr>
        <p:spPr>
          <a:xfrm flipH="1">
            <a:off x="0" y="6355663"/>
            <a:ext cx="729583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E0715AB-FD82-EF46-B3AA-D199C4568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582" y="252000"/>
            <a:ext cx="10958419" cy="636588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DECF10-FF72-1C4C-98D3-A1F22F342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1" y="1140588"/>
            <a:ext cx="10958419" cy="5465412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8FFE5AD-6371-D74D-9383-3735382D13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/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427F685-05FB-E645-8890-E0491A256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5"/>
            <a:ext cx="290696" cy="29069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A51B7006-95DE-1B47-A6FB-F1A1DB27B348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29583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977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chiffre clé Bleu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800EFFE-47BF-5443-98B9-1D094BAB4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264" y="0"/>
            <a:ext cx="6095999" cy="686199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B421E90-A53F-214E-A209-43159039A009}"/>
              </a:ext>
            </a:extLst>
          </p:cNvPr>
          <p:cNvSpPr/>
          <p:nvPr userDrawn="1"/>
        </p:nvSpPr>
        <p:spPr>
          <a:xfrm>
            <a:off x="6093264" y="0"/>
            <a:ext cx="6095999" cy="6858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185678BB-E119-6B44-BD4F-74570B2BE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583" y="252000"/>
            <a:ext cx="4862419" cy="636588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DD6F029D-9D35-7741-A977-316DFA2A07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2" y="1140588"/>
            <a:ext cx="4862419" cy="5465412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4A6EFB36-2AF3-1B4F-9D0C-AF2830C3F4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80315" y="2681284"/>
            <a:ext cx="3521898" cy="1206500"/>
          </a:xfrm>
        </p:spPr>
        <p:txBody>
          <a:bodyPr anchor="ctr">
            <a:noAutofit/>
          </a:bodyPr>
          <a:lstStyle>
            <a:lvl1pPr algn="ctr">
              <a:defRPr sz="9600">
                <a:solidFill>
                  <a:schemeClr val="bg1"/>
                </a:solidFill>
                <a:latin typeface="Vinci Sans Expanded Medium" panose="020B0505040101020203" pitchFamily="34" charset="77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15D51FC0-B078-8446-8117-0DEAAD182C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0315" y="3887784"/>
            <a:ext cx="3521898" cy="495300"/>
          </a:xfrm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hiffre clé</a:t>
            </a:r>
          </a:p>
        </p:txBody>
      </p:sp>
      <p:sp>
        <p:nvSpPr>
          <p:cNvPr id="15" name="Espace réservé du numéro de diapositive 10">
            <a:extLst>
              <a:ext uri="{FF2B5EF4-FFF2-40B4-BE49-F238E27FC236}">
                <a16:creationId xmlns:a16="http://schemas.microsoft.com/office/drawing/2014/main" id="{D063AC31-48E3-C74E-BB2E-D86E3C5A30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>
                <a:solidFill>
                  <a:schemeClr val="bg2"/>
                </a:solidFill>
              </a:defRPr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2542E89-47FB-374B-A2B0-890311973C41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29583" cy="635566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EE1B455-398F-A34D-9B43-8A753867DD4C}"/>
              </a:ext>
            </a:extLst>
          </p:cNvPr>
          <p:cNvSpPr/>
          <p:nvPr userDrawn="1"/>
        </p:nvSpPr>
        <p:spPr>
          <a:xfrm flipH="1">
            <a:off x="0" y="6355663"/>
            <a:ext cx="729583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0D80ED21-B0AB-CB46-9CC7-2EC060F3346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5"/>
            <a:ext cx="290696" cy="2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696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 Blanc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D800EFFE-47BF-5443-98B9-1D094BAB4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266" y="0"/>
            <a:ext cx="6095999" cy="6861998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1CFCE034-CAF3-3547-A4FC-8F0E61938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583" y="252000"/>
            <a:ext cx="4862419" cy="636588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FA67888C-96EF-2243-94FC-5D0CD9C868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2" y="1140588"/>
            <a:ext cx="4862419" cy="5465412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numéro de diapositive 10">
            <a:extLst>
              <a:ext uri="{FF2B5EF4-FFF2-40B4-BE49-F238E27FC236}">
                <a16:creationId xmlns:a16="http://schemas.microsoft.com/office/drawing/2014/main" id="{13ED4D8F-5B5B-A64B-9024-3A876C8B8D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>
                <a:solidFill>
                  <a:schemeClr val="bg2"/>
                </a:solidFill>
              </a:defRPr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B76A9E-DC87-984E-A571-CF80A2BDB3DB}"/>
              </a:ext>
            </a:extLst>
          </p:cNvPr>
          <p:cNvSpPr/>
          <p:nvPr userDrawn="1"/>
        </p:nvSpPr>
        <p:spPr>
          <a:xfrm flipH="1">
            <a:off x="0" y="6355663"/>
            <a:ext cx="729583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3BB69CA-996B-AF45-BEAF-4F94BFAD0B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5"/>
            <a:ext cx="290696" cy="29069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1CAE94C-72FC-B348-A3A3-64DF049384CE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29583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407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espace image Bleu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B7DBA4E2-CD65-1547-9FC4-B3EAD8807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583" y="252000"/>
            <a:ext cx="4862419" cy="636588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927C5491-2134-A84D-96FD-FDBDE9CA8F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2" y="1140588"/>
            <a:ext cx="4862419" cy="5465412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6E600B7-D9EC-A743-805A-47AAA9404D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8" name="Espace réservé du numéro de diapositive 10">
            <a:extLst>
              <a:ext uri="{FF2B5EF4-FFF2-40B4-BE49-F238E27FC236}">
                <a16:creationId xmlns:a16="http://schemas.microsoft.com/office/drawing/2014/main" id="{1E1701FA-79D4-514C-B761-95E3D5CAD1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/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1364E6B-4A70-4A42-BD10-A1B195B99EF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29583" cy="635566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090A687-F561-3747-95D3-72B4C6EF102F}"/>
              </a:ext>
            </a:extLst>
          </p:cNvPr>
          <p:cNvSpPr/>
          <p:nvPr userDrawn="1"/>
        </p:nvSpPr>
        <p:spPr>
          <a:xfrm flipH="1">
            <a:off x="0" y="6355663"/>
            <a:ext cx="729583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6833D529-7BAC-2B4A-99A2-180E3DAB3B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5"/>
            <a:ext cx="290696" cy="2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1390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espace image Blanc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B7DBA4E2-CD65-1547-9FC4-B3EAD8807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583" y="252000"/>
            <a:ext cx="4862419" cy="636588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927C5491-2134-A84D-96FD-FDBDE9CA8F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2" y="1140588"/>
            <a:ext cx="4862419" cy="5465412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tx2"/>
                </a:solidFill>
              </a:defRPr>
            </a:lvl2pPr>
            <a:lvl3pPr marL="914400" indent="0">
              <a:buNone/>
              <a:defRPr>
                <a:solidFill>
                  <a:schemeClr val="tx2"/>
                </a:solidFill>
              </a:defRPr>
            </a:lvl3pPr>
            <a:lvl4pPr marL="1371600" indent="0">
              <a:buNone/>
              <a:defRPr>
                <a:solidFill>
                  <a:schemeClr val="tx2"/>
                </a:solidFill>
              </a:defRPr>
            </a:lvl4pPr>
            <a:lvl5pPr marL="1828800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6E600B7-D9EC-A743-805A-47AAA9404D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</p:spPr>
        <p:txBody>
          <a:bodyPr anchor="ctr">
            <a:normAutofit/>
          </a:bodyPr>
          <a:lstStyle>
            <a:lvl1pPr algn="ctr">
              <a:defRPr sz="4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8" name="Espace réservé du numéro de diapositive 10">
            <a:extLst>
              <a:ext uri="{FF2B5EF4-FFF2-40B4-BE49-F238E27FC236}">
                <a16:creationId xmlns:a16="http://schemas.microsoft.com/office/drawing/2014/main" id="{73557C02-C592-524E-83DB-4D6AB0B273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/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4BD069-8218-8E44-BD23-8F2D29D23C08}"/>
              </a:ext>
            </a:extLst>
          </p:cNvPr>
          <p:cNvSpPr/>
          <p:nvPr userDrawn="1"/>
        </p:nvSpPr>
        <p:spPr>
          <a:xfrm flipH="1">
            <a:off x="0" y="6355663"/>
            <a:ext cx="729583" cy="502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CB0BFCA-D939-ED41-8E59-D4AEFCE164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5"/>
            <a:ext cx="290696" cy="290694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AC647BC-A4E6-8B4A-8654-7F71E1CB9F1E}"/>
              </a:ext>
            </a:extLst>
          </p:cNvPr>
          <p:cNvPicPr>
            <a:picLocks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29583" cy="635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621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8FFE5AD-6371-D74D-9383-3735382D13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10419" y="6349107"/>
            <a:ext cx="729584" cy="508893"/>
          </a:xfrm>
        </p:spPr>
        <p:txBody>
          <a:bodyPr lIns="0" tIns="0" rIns="0" bIns="0" anchor="ctr">
            <a:noAutofit/>
          </a:bodyPr>
          <a:lstStyle>
            <a:lvl1pPr algn="r">
              <a:defRPr b="1"/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1C676A8-96A0-1843-AEA7-78FB66CDDE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4" y="6461483"/>
            <a:ext cx="290696" cy="290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26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E62177C-C30C-8747-8491-56F981F4A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710E7E9-3A50-864B-A5FF-7B6D5EDB41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EEFEB25-5CA3-F241-A06B-F3D29015BD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Gotham Bold" pitchFamily="2" charset="0"/>
                <a:cs typeface="Gotham Bold" pitchFamily="2" charset="0"/>
              </a:defRPr>
            </a:lvl1pPr>
          </a:lstStyle>
          <a:p>
            <a:fld id="{8A3A03B3-C23C-0A48-8B61-10CEDED6078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13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5" r:id="rId2"/>
    <p:sldLayoutId id="2147483690" r:id="rId3"/>
    <p:sldLayoutId id="2147483671" r:id="rId4"/>
    <p:sldLayoutId id="2147483676" r:id="rId5"/>
    <p:sldLayoutId id="2147483677" r:id="rId6"/>
    <p:sldLayoutId id="2147483687" r:id="rId7"/>
    <p:sldLayoutId id="2147483689" r:id="rId8"/>
    <p:sldLayoutId id="2147483697" r:id="rId9"/>
    <p:sldLayoutId id="2147483678" r:id="rId10"/>
    <p:sldLayoutId id="2147483693" r:id="rId11"/>
    <p:sldLayoutId id="214748369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Vinci Sans Expanded Medium" panose="020B0505040101020203" pitchFamily="34" charset="77"/>
          <a:ea typeface="+mj-ea"/>
          <a:cs typeface="Gotham Bold" pitchFamily="2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Vinci Sans" panose="020B0501040101020203" pitchFamily="34" charset="77"/>
          <a:ea typeface="+mn-ea"/>
          <a:cs typeface="Gotham Bold" pitchFamily="2" charset="0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Vinci Sans" panose="020B0501040101020203" pitchFamily="34" charset="77"/>
          <a:ea typeface="+mn-ea"/>
          <a:cs typeface="Gotham Bold" pitchFamily="2" charset="0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Vinci Sans" panose="020B0501040101020203" pitchFamily="34" charset="77"/>
          <a:ea typeface="+mn-ea"/>
          <a:cs typeface="Gotham Bold" pitchFamily="2" charset="0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Vinci Sans" panose="020B0501040101020203" pitchFamily="34" charset="77"/>
          <a:ea typeface="+mn-ea"/>
          <a:cs typeface="Gotham Bold" pitchFamily="2" charset="0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Vinci Sans" panose="020B0501040101020203" pitchFamily="34" charset="77"/>
          <a:ea typeface="+mn-ea"/>
          <a:cs typeface="Gotham Bold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4311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Lined</a:t>
            </a:r>
            <a:r>
              <a:rPr lang="fr-FR" dirty="0"/>
              <a:t> rock </a:t>
            </a:r>
            <a:r>
              <a:rPr lang="fr-FR" dirty="0" err="1"/>
              <a:t>cavern</a:t>
            </a:r>
            <a:r>
              <a:rPr lang="fr-FR" dirty="0"/>
              <a:t> for </a:t>
            </a:r>
            <a:r>
              <a:rPr lang="fr-FR" dirty="0" err="1"/>
              <a:t>liquid</a:t>
            </a:r>
            <a:r>
              <a:rPr lang="fr-FR" dirty="0"/>
              <a:t> H2 carrier : NH3</a:t>
            </a:r>
          </a:p>
        </p:txBody>
      </p:sp>
      <p:pic>
        <p:nvPicPr>
          <p:cNvPr id="2" name="Image 2">
            <a:extLst>
              <a:ext uri="{FF2B5EF4-FFF2-40B4-BE49-F238E27FC236}">
                <a16:creationId xmlns:a16="http://schemas.microsoft.com/office/drawing/2014/main" id="{0CBD62F7-43E3-8F39-1BE9-078F3D0849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0643" y="1223507"/>
            <a:ext cx="9414040" cy="5299574"/>
          </a:xfrm>
          <a:prstGeom prst="rect">
            <a:avLst/>
          </a:prstGeom>
        </p:spPr>
      </p:pic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0B7E6959-7D7F-ADC7-7D36-0C2EEE2711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9420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AFD525-5DD2-4A23-861C-D44C1945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In the 1980-1990, lot of </a:t>
            </a:r>
            <a:r>
              <a:rPr lang="fr-FR" dirty="0" err="1"/>
              <a:t>studies</a:t>
            </a:r>
            <a:r>
              <a:rPr lang="fr-FR" dirty="0"/>
              <a:t> to store NH3 underground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GEOSTOCK Patent 30 </a:t>
            </a:r>
            <a:r>
              <a:rPr lang="fr-FR" dirty="0" err="1"/>
              <a:t>years</a:t>
            </a:r>
            <a:r>
              <a:rPr lang="fr-FR" dirty="0"/>
              <a:t> </a:t>
            </a:r>
            <a:r>
              <a:rPr lang="fr-FR" dirty="0" err="1"/>
              <a:t>ago</a:t>
            </a:r>
            <a:r>
              <a:rPr lang="fr-FR" dirty="0"/>
              <a:t>. </a:t>
            </a:r>
            <a:r>
              <a:rPr lang="en-US" dirty="0"/>
              <a:t>US4542626 :</a:t>
            </a:r>
            <a:endParaRPr lang="fr-FR" dirty="0"/>
          </a:p>
          <a:p>
            <a:r>
              <a:rPr lang="fr-FR" dirty="0"/>
              <a:t>No construction by GEOSTOCK.</a:t>
            </a: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fr-FR" sz="1600" dirty="0">
                <a:latin typeface="Myriad Pro"/>
                <a:ea typeface="SimSun" panose="02010600030101010101" pitchFamily="2" charset="-122"/>
                <a:cs typeface="Times New Roman" panose="02020603050405020304" pitchFamily="18" charset="0"/>
              </a:rPr>
              <a:t>							</a:t>
            </a:r>
            <a:r>
              <a:rPr lang="en-US" sz="800" dirty="0">
                <a:latin typeface="Myriad Pro"/>
                <a:ea typeface="SimSun" panose="02010600030101010101" pitchFamily="2" charset="-122"/>
                <a:cs typeface="Times New Roman" panose="02020603050405020304" pitchFamily="18" charset="0"/>
              </a:rPr>
              <a:t>https://patents.google.com/patent/US4542626</a:t>
            </a:r>
            <a:endParaRPr lang="fr-FR" sz="800" dirty="0"/>
          </a:p>
          <a:p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NED MINED CAVERN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B5E3099-47C3-415B-BDF4-7B9176F79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2548" y="2562945"/>
            <a:ext cx="5484440" cy="390575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AA5DD5E-D186-4DB3-B0E2-4A58C3BEDE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88" t="26200" r="46851" b="22000"/>
          <a:stretch/>
        </p:blipFill>
        <p:spPr>
          <a:xfrm>
            <a:off x="6330242" y="1820966"/>
            <a:ext cx="4956321" cy="359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708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AFD525-5DD2-4A23-861C-D44C19459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1581" y="871649"/>
            <a:ext cx="10958419" cy="5465412"/>
          </a:xfrm>
        </p:spPr>
        <p:txBody>
          <a:bodyPr/>
          <a:lstStyle/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 err="1"/>
              <a:t>Ammonia</a:t>
            </a:r>
            <a:r>
              <a:rPr lang="fr-FR" dirty="0"/>
              <a:t> = Very </a:t>
            </a:r>
            <a:r>
              <a:rPr lang="fr-FR" dirty="0" err="1"/>
              <a:t>well</a:t>
            </a:r>
            <a:r>
              <a:rPr lang="fr-FR" dirty="0"/>
              <a:t> </a:t>
            </a:r>
            <a:r>
              <a:rPr lang="fr-FR" dirty="0" err="1"/>
              <a:t>known</a:t>
            </a:r>
            <a:r>
              <a:rPr lang="fr-FR" dirty="0"/>
              <a:t> </a:t>
            </a:r>
            <a:r>
              <a:rPr lang="fr-FR" dirty="0" err="1"/>
              <a:t>molecule</a:t>
            </a:r>
            <a:r>
              <a:rPr lang="fr-FR" dirty="0"/>
              <a:t> by the </a:t>
            </a:r>
            <a:r>
              <a:rPr lang="fr-FR" dirty="0" err="1"/>
              <a:t>Industry</a:t>
            </a: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Storage of </a:t>
            </a:r>
            <a:r>
              <a:rPr lang="fr-FR" dirty="0" err="1"/>
              <a:t>ammonia</a:t>
            </a:r>
            <a:r>
              <a:rPr lang="fr-FR" dirty="0"/>
              <a:t> at ambient </a:t>
            </a:r>
            <a:r>
              <a:rPr lang="fr-FR" dirty="0" err="1"/>
              <a:t>temperature</a:t>
            </a:r>
            <a:r>
              <a:rPr lang="fr-FR" dirty="0"/>
              <a:t> (Pressure = 8 à 10 </a:t>
            </a:r>
            <a:r>
              <a:rPr lang="fr-FR" dirty="0" err="1"/>
              <a:t>barg</a:t>
            </a:r>
            <a:r>
              <a:rPr lang="fr-FR" dirty="0"/>
              <a:t>). </a:t>
            </a:r>
            <a:r>
              <a:rPr lang="fr-FR" dirty="0" err="1"/>
              <a:t>Similar</a:t>
            </a:r>
            <a:r>
              <a:rPr lang="fr-FR" dirty="0"/>
              <a:t> to LPG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 err="1"/>
              <a:t>Lining</a:t>
            </a:r>
            <a:r>
              <a:rPr lang="fr-FR" dirty="0"/>
              <a:t> to </a:t>
            </a:r>
            <a:r>
              <a:rPr lang="fr-FR" dirty="0" err="1"/>
              <a:t>be</a:t>
            </a:r>
            <a:r>
              <a:rPr lang="fr-FR" dirty="0"/>
              <a:t> </a:t>
            </a:r>
            <a:r>
              <a:rPr lang="fr-FR" dirty="0" err="1"/>
              <a:t>used</a:t>
            </a:r>
            <a:r>
              <a:rPr lang="fr-FR" dirty="0"/>
              <a:t> </a:t>
            </a:r>
            <a:r>
              <a:rPr lang="fr-FR" dirty="0" err="1"/>
              <a:t>should</a:t>
            </a:r>
            <a:r>
              <a:rPr lang="fr-FR" dirty="0"/>
              <a:t> </a:t>
            </a:r>
            <a:r>
              <a:rPr lang="fr-FR" dirty="0" err="1"/>
              <a:t>be</a:t>
            </a:r>
            <a:r>
              <a:rPr lang="fr-FR" dirty="0"/>
              <a:t> more simple </a:t>
            </a:r>
            <a:r>
              <a:rPr lang="fr-FR" dirty="0" err="1"/>
              <a:t>than</a:t>
            </a:r>
            <a:r>
              <a:rPr lang="fr-FR" dirty="0"/>
              <a:t> the one for H</a:t>
            </a:r>
            <a:r>
              <a:rPr lang="fr-FR" baseline="-25000" dirty="0"/>
              <a:t>2</a:t>
            </a:r>
            <a:r>
              <a:rPr lang="fr-FR" dirty="0"/>
              <a:t>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	- No </a:t>
            </a:r>
            <a:r>
              <a:rPr lang="fr-FR" dirty="0" err="1"/>
              <a:t>permeation</a:t>
            </a:r>
            <a:r>
              <a:rPr lang="fr-FR" dirty="0"/>
              <a:t> </a:t>
            </a:r>
            <a:r>
              <a:rPr lang="fr-FR" dirty="0" err="1"/>
              <a:t>through</a:t>
            </a:r>
            <a:r>
              <a:rPr lang="fr-FR" dirty="0"/>
              <a:t> the membrane of NH3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	- Narrow range of operating pressure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	- Narrow range of operating </a:t>
            </a:r>
            <a:r>
              <a:rPr lang="fr-FR" dirty="0" err="1"/>
              <a:t>temperature</a:t>
            </a: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						</a:t>
            </a:r>
          </a:p>
          <a:p>
            <a:endParaRPr lang="fr-FR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fr-FR" sz="1600" dirty="0">
              <a:latin typeface="Myriad Pro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fr-FR" sz="1600" dirty="0">
                <a:latin typeface="Myriad Pro"/>
                <a:ea typeface="SimSun" panose="02010600030101010101" pitchFamily="2" charset="-122"/>
                <a:cs typeface="Times New Roman" panose="02020603050405020304" pitchFamily="18" charset="0"/>
              </a:rPr>
              <a:t>							</a:t>
            </a:r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H3 </a:t>
            </a:r>
            <a:r>
              <a:rPr lang="fr-FR" dirty="0" err="1"/>
              <a:t>lined</a:t>
            </a:r>
            <a:r>
              <a:rPr lang="fr-FR" dirty="0"/>
              <a:t> rock </a:t>
            </a:r>
            <a:r>
              <a:rPr lang="fr-FR" dirty="0" err="1"/>
              <a:t>cavern</a:t>
            </a:r>
            <a:r>
              <a:rPr lang="fr-FR" dirty="0"/>
              <a:t> – </a:t>
            </a:r>
            <a:r>
              <a:rPr lang="fr-FR" dirty="0" err="1"/>
              <a:t>easier</a:t>
            </a:r>
            <a:r>
              <a:rPr lang="fr-FR" dirty="0"/>
              <a:t> </a:t>
            </a:r>
            <a:r>
              <a:rPr lang="fr-FR" dirty="0" err="1"/>
              <a:t>than</a:t>
            </a:r>
            <a:r>
              <a:rPr lang="fr-FR" dirty="0"/>
              <a:t> H2 </a:t>
            </a:r>
            <a:r>
              <a:rPr lang="fr-FR" dirty="0" err="1"/>
              <a:t>lined</a:t>
            </a:r>
            <a:r>
              <a:rPr lang="fr-FR" dirty="0"/>
              <a:t> rock </a:t>
            </a:r>
            <a:r>
              <a:rPr lang="fr-FR" dirty="0" err="1"/>
              <a:t>cavern</a:t>
            </a:r>
            <a:endParaRPr lang="fr-FR" dirty="0"/>
          </a:p>
        </p:txBody>
      </p:sp>
      <p:pic>
        <p:nvPicPr>
          <p:cNvPr id="2" name="Image 3">
            <a:extLst>
              <a:ext uri="{FF2B5EF4-FFF2-40B4-BE49-F238E27FC236}">
                <a16:creationId xmlns:a16="http://schemas.microsoft.com/office/drawing/2014/main" id="{4D327040-1297-2C61-4159-C01B201AFE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8747" y="1931639"/>
            <a:ext cx="3052762" cy="40547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A0D43DB-8FD4-710B-85D3-2683A7CBE5C7}"/>
              </a:ext>
            </a:extLst>
          </p:cNvPr>
          <p:cNvSpPr txBox="1">
            <a:spLocks/>
          </p:cNvSpPr>
          <p:nvPr/>
        </p:nvSpPr>
        <p:spPr bwMode="auto">
          <a:xfrm>
            <a:off x="6307022" y="5987071"/>
            <a:ext cx="5343872" cy="50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Lined cavern under construction for Natural Gas (Source: </a:t>
            </a:r>
            <a:r>
              <a:rPr lang="en-GB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Thermie</a:t>
            </a:r>
            <a:r>
              <a:rPr lang="en-GB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B - Project N° OG./270/97/SE/FR)</a:t>
            </a:r>
            <a:endParaRPr lang="fr-FR" sz="1600" b="1" dirty="0">
              <a:solidFill>
                <a:schemeClr val="tx2"/>
              </a:solidFill>
              <a:latin typeface="Arial"/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49633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1E2DC39-35C1-274A-A3DE-E11E1F4111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03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34B51B9-D210-4610-911A-3594AE3B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LT CAVERN- and POROUS MEDIA</a:t>
            </a:r>
            <a:br>
              <a:rPr lang="fr-FR" dirty="0"/>
            </a:br>
            <a:endParaRPr lang="fr-FR" dirty="0"/>
          </a:p>
        </p:txBody>
      </p:sp>
      <p:pic>
        <p:nvPicPr>
          <p:cNvPr id="2" name="Image 1" descr="Une image contenant assis, table, pièce&#10;&#10;Description générée automatiquement">
            <a:extLst>
              <a:ext uri="{FF2B5EF4-FFF2-40B4-BE49-F238E27FC236}">
                <a16:creationId xmlns:a16="http://schemas.microsoft.com/office/drawing/2014/main" id="{9063E1B4-268C-2CEC-82D8-F5F8BC3B94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2" t="21236" r="27811" b="22575"/>
          <a:stretch/>
        </p:blipFill>
        <p:spPr>
          <a:xfrm>
            <a:off x="4613391" y="-72375"/>
            <a:ext cx="2140443" cy="3960000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40A9896B-E569-A767-4A9D-D6AE46C71F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09" t="22766" r="28255" b="22001"/>
          <a:stretch/>
        </p:blipFill>
        <p:spPr>
          <a:xfrm>
            <a:off x="7850770" y="93833"/>
            <a:ext cx="2042976" cy="3960000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716333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AFD525-5DD2-4A23-861C-D44C1945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 err="1"/>
              <a:t>Ammonia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a polar </a:t>
            </a:r>
            <a:r>
              <a:rPr lang="fr-FR" dirty="0" err="1"/>
              <a:t>molecule</a:t>
            </a:r>
            <a:r>
              <a:rPr lang="fr-FR" dirty="0"/>
              <a:t> </a:t>
            </a:r>
            <a:r>
              <a:rPr lang="fr-FR" dirty="0" err="1"/>
              <a:t>similar</a:t>
            </a:r>
            <a:r>
              <a:rPr lang="fr-FR" dirty="0"/>
              <a:t> to water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b="1" u="sng" dirty="0" err="1"/>
              <a:t>Concern</a:t>
            </a:r>
            <a:r>
              <a:rPr lang="fr-FR" b="1" u="sng" dirty="0"/>
              <a:t> : </a:t>
            </a:r>
            <a:r>
              <a:rPr lang="fr-FR" dirty="0"/>
              <a:t>Salt dissolution: 24,5 g/L for NH3. For water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more </a:t>
            </a:r>
            <a:r>
              <a:rPr lang="fr-FR" dirty="0" err="1"/>
              <a:t>than</a:t>
            </a:r>
            <a:r>
              <a:rPr lang="fr-FR" dirty="0"/>
              <a:t> 300 </a:t>
            </a:r>
            <a:r>
              <a:rPr lang="fr-FR" dirty="0" err="1"/>
              <a:t>gNaCl</a:t>
            </a:r>
            <a:r>
              <a:rPr lang="fr-FR" dirty="0"/>
              <a:t>/L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5 patents US in the 60’s about NH3 </a:t>
            </a:r>
            <a:r>
              <a:rPr lang="fr-FR" dirty="0" err="1"/>
              <a:t>storage</a:t>
            </a:r>
            <a:r>
              <a:rPr lang="fr-FR" dirty="0"/>
              <a:t> in </a:t>
            </a:r>
            <a:r>
              <a:rPr lang="fr-FR" dirty="0" err="1"/>
              <a:t>salt</a:t>
            </a:r>
            <a:r>
              <a:rPr lang="fr-FR" dirty="0"/>
              <a:t> </a:t>
            </a:r>
            <a:r>
              <a:rPr lang="fr-FR" dirty="0" err="1"/>
              <a:t>cavern</a:t>
            </a:r>
            <a:r>
              <a:rPr lang="fr-FR" dirty="0"/>
              <a:t>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The patents are </a:t>
            </a:r>
            <a:r>
              <a:rPr lang="fr-FR" dirty="0" err="1"/>
              <a:t>dealing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different</a:t>
            </a:r>
            <a:r>
              <a:rPr lang="fr-FR" dirty="0"/>
              <a:t> </a:t>
            </a:r>
            <a:r>
              <a:rPr lang="fr-FR" dirty="0" err="1"/>
              <a:t>kind</a:t>
            </a:r>
            <a:r>
              <a:rPr lang="fr-FR" dirty="0"/>
              <a:t> of process to </a:t>
            </a:r>
            <a:r>
              <a:rPr lang="fr-FR" dirty="0" err="1"/>
              <a:t>treat</a:t>
            </a:r>
            <a:r>
              <a:rPr lang="fr-FR" dirty="0"/>
              <a:t> the </a:t>
            </a:r>
            <a:r>
              <a:rPr lang="fr-FR" dirty="0" err="1"/>
              <a:t>salt</a:t>
            </a:r>
            <a:r>
              <a:rPr lang="fr-FR" dirty="0"/>
              <a:t> </a:t>
            </a:r>
            <a:r>
              <a:rPr lang="fr-FR" dirty="0" err="1"/>
              <a:t>dissolved</a:t>
            </a:r>
            <a:r>
              <a:rPr lang="fr-FR" dirty="0"/>
              <a:t> in the </a:t>
            </a:r>
            <a:r>
              <a:rPr lang="fr-FR" dirty="0" err="1"/>
              <a:t>ammonia</a:t>
            </a:r>
            <a:r>
              <a:rPr lang="fr-FR" dirty="0"/>
              <a:t>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On pilot unit in Texas: « </a:t>
            </a:r>
            <a:r>
              <a:rPr lang="en-US" dirty="0"/>
              <a:t>The only actual underground storage of ammonia that I know of in salt was an experiment that Phillips Petroleum made out in West Texas some years ago. I assume from what I've heard that it was not successful and do know they haven't continued it or gone into it in other places. »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en-US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en-US" b="1" dirty="0"/>
              <a:t>VERY DIFFICULT to store inside salt caverns – NOT POSSIBLE to store inside porous media due to reactivity with water.</a:t>
            </a:r>
            <a:endParaRPr lang="fr-FR" b="1" dirty="0"/>
          </a:p>
          <a:p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alt </a:t>
            </a:r>
            <a:r>
              <a:rPr lang="fr-FR" dirty="0" err="1"/>
              <a:t>cavern</a:t>
            </a:r>
            <a:r>
              <a:rPr lang="fr-FR" dirty="0"/>
              <a:t> and </a:t>
            </a:r>
            <a:r>
              <a:rPr lang="fr-FR" dirty="0" err="1"/>
              <a:t>porous</a:t>
            </a:r>
            <a:r>
              <a:rPr lang="fr-FR" dirty="0"/>
              <a:t> media</a:t>
            </a:r>
          </a:p>
        </p:txBody>
      </p:sp>
    </p:spTree>
    <p:extLst>
      <p:ext uri="{BB962C8B-B14F-4D97-AF65-F5344CB8AC3E}">
        <p14:creationId xmlns:p14="http://schemas.microsoft.com/office/powerpoint/2010/main" val="24198372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AFD525-5DD2-4A23-861C-D44C1945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 algn="just">
              <a:buFont typeface="Arial"/>
              <a:buChar char="•"/>
            </a:pPr>
            <a:r>
              <a:rPr lang="en-GB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Salt caverns and porous rock reservoirs are not suitable for Ammonia storage. 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 </a:t>
            </a:r>
          </a:p>
          <a:p>
            <a:pPr marL="342900" indent="-342900" algn="just">
              <a:buFont typeface="Arial"/>
              <a:buChar char="•"/>
            </a:pPr>
            <a:endParaRPr lang="fr-FR" b="1" dirty="0">
              <a:latin typeface="Arial"/>
              <a:ea typeface="MS PGothic"/>
              <a:cs typeface="Arial"/>
            </a:endParaRPr>
          </a:p>
          <a:p>
            <a:pPr marL="342900" indent="-342900" algn="just">
              <a:buFont typeface="Arial"/>
              <a:buChar char="•"/>
            </a:pP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Unlined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Rock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Cavern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for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ammonia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requires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very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low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seepage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rate or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low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temperature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storage</a:t>
            </a:r>
            <a:r>
              <a:rPr lang="fr-FR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. The </a:t>
            </a:r>
            <a:r>
              <a:rPr lang="fr-FR" sz="1600" b="1" dirty="0" err="1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economic</a:t>
            </a:r>
            <a:r>
              <a:rPr lang="fr-FR" b="1" dirty="0" err="1">
                <a:latin typeface="Arial"/>
                <a:ea typeface="MS PGothic"/>
                <a:cs typeface="Arial"/>
              </a:rPr>
              <a:t>s</a:t>
            </a:r>
            <a:r>
              <a:rPr lang="fr-FR" b="1" dirty="0">
                <a:latin typeface="Arial"/>
                <a:ea typeface="MS PGothic"/>
                <a:cs typeface="Arial"/>
              </a:rPr>
              <a:t> of </a:t>
            </a:r>
            <a:r>
              <a:rPr lang="fr-FR" b="1" dirty="0" err="1">
                <a:latin typeface="Arial"/>
                <a:ea typeface="MS PGothic"/>
                <a:cs typeface="Arial"/>
              </a:rPr>
              <a:t>such</a:t>
            </a:r>
            <a:r>
              <a:rPr lang="fr-FR" b="1" dirty="0">
                <a:latin typeface="Arial"/>
                <a:ea typeface="MS PGothic"/>
                <a:cs typeface="Arial"/>
              </a:rPr>
              <a:t> </a:t>
            </a:r>
            <a:r>
              <a:rPr lang="fr-FR" b="1" dirty="0" err="1">
                <a:latin typeface="Arial"/>
                <a:ea typeface="MS PGothic"/>
                <a:cs typeface="Arial"/>
              </a:rPr>
              <a:t>storages</a:t>
            </a:r>
            <a:r>
              <a:rPr lang="fr-FR" b="1" dirty="0">
                <a:latin typeface="Arial"/>
                <a:ea typeface="MS PGothic"/>
                <a:cs typeface="Arial"/>
              </a:rPr>
              <a:t> </a:t>
            </a:r>
            <a:r>
              <a:rPr lang="fr-FR" b="1" dirty="0" err="1">
                <a:latin typeface="Arial"/>
                <a:ea typeface="MS PGothic"/>
                <a:cs typeface="Arial"/>
              </a:rPr>
              <a:t>need</a:t>
            </a:r>
            <a:r>
              <a:rPr lang="fr-FR" b="1" dirty="0">
                <a:latin typeface="Arial"/>
                <a:ea typeface="MS PGothic"/>
                <a:cs typeface="Arial"/>
              </a:rPr>
              <a:t> to </a:t>
            </a:r>
            <a:r>
              <a:rPr lang="fr-FR" b="1" dirty="0" err="1">
                <a:latin typeface="Arial"/>
                <a:ea typeface="MS PGothic"/>
                <a:cs typeface="Arial"/>
              </a:rPr>
              <a:t>be</a:t>
            </a:r>
            <a:r>
              <a:rPr lang="fr-FR" b="1" dirty="0">
                <a:latin typeface="Arial"/>
                <a:ea typeface="MS PGothic"/>
                <a:cs typeface="Arial"/>
              </a:rPr>
              <a:t> </a:t>
            </a:r>
            <a:r>
              <a:rPr lang="fr-FR" b="1" dirty="0" err="1">
                <a:latin typeface="Arial"/>
                <a:ea typeface="MS PGothic"/>
                <a:cs typeface="Arial"/>
              </a:rPr>
              <a:t>studied</a:t>
            </a:r>
            <a:r>
              <a:rPr lang="fr-FR" b="1" dirty="0">
                <a:latin typeface="Arial"/>
                <a:ea typeface="MS PGothic"/>
                <a:cs typeface="Arial"/>
              </a:rPr>
              <a:t> case by case </a:t>
            </a:r>
            <a:r>
              <a:rPr lang="fr-FR" b="1" dirty="0" err="1">
                <a:latin typeface="Arial"/>
                <a:ea typeface="MS PGothic"/>
                <a:cs typeface="Arial"/>
              </a:rPr>
              <a:t>based</a:t>
            </a:r>
            <a:r>
              <a:rPr lang="fr-FR" b="1" dirty="0">
                <a:latin typeface="Arial"/>
                <a:ea typeface="MS PGothic"/>
                <a:cs typeface="Arial"/>
              </a:rPr>
              <a:t> on </a:t>
            </a:r>
            <a:r>
              <a:rPr lang="fr-FR" b="1" dirty="0" err="1">
                <a:latin typeface="Arial"/>
                <a:ea typeface="MS PGothic"/>
                <a:cs typeface="Arial"/>
              </a:rPr>
              <a:t>geology</a:t>
            </a:r>
            <a:r>
              <a:rPr lang="fr-FR" b="1" dirty="0">
                <a:latin typeface="Arial"/>
                <a:ea typeface="MS PGothic"/>
                <a:cs typeface="Arial"/>
              </a:rPr>
              <a:t> and commercial </a:t>
            </a:r>
            <a:r>
              <a:rPr lang="fr-FR" b="1" dirty="0" err="1">
                <a:latin typeface="Arial"/>
                <a:ea typeface="MS PGothic"/>
                <a:cs typeface="Arial"/>
              </a:rPr>
              <a:t>opportunities</a:t>
            </a:r>
            <a:endParaRPr lang="fr-FR" sz="1600" b="1" dirty="0">
              <a:solidFill>
                <a:schemeClr val="tx2"/>
              </a:solidFill>
              <a:latin typeface="Arial"/>
              <a:ea typeface="MS PGothic"/>
              <a:cs typeface="Arial"/>
            </a:endParaRPr>
          </a:p>
          <a:p>
            <a:pPr marL="342900" indent="-342900" algn="just">
              <a:buFont typeface="Arial"/>
              <a:buChar char="•"/>
            </a:pPr>
            <a:endParaRPr lang="fr-FR" sz="1600" b="1" dirty="0">
              <a:solidFill>
                <a:schemeClr val="tx2"/>
              </a:solidFill>
              <a:latin typeface="Arial"/>
              <a:ea typeface="MS PGothic"/>
              <a:cs typeface="Arial"/>
            </a:endParaRPr>
          </a:p>
          <a:p>
            <a:pPr marL="342900" indent="-342900" algn="just">
              <a:buFont typeface="Arial"/>
              <a:buChar char="•"/>
            </a:pPr>
            <a:r>
              <a:rPr lang="en-GB" sz="1600" b="1" dirty="0">
                <a:solidFill>
                  <a:schemeClr val="tx2"/>
                </a:solidFill>
                <a:latin typeface="Arial"/>
                <a:ea typeface="MS PGothic"/>
                <a:cs typeface="Arial"/>
              </a:rPr>
              <a:t>Lined Rock Caverns (LRCs) for pressurised ammonia or pressurised hydrogen could be ready for commercialisation in the near future. </a:t>
            </a:r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Bring</a:t>
            </a:r>
            <a:r>
              <a:rPr lang="fr-FR" dirty="0"/>
              <a:t> back to Office</a:t>
            </a:r>
          </a:p>
        </p:txBody>
      </p:sp>
      <p:pic>
        <p:nvPicPr>
          <p:cNvPr id="2" name="Image 4">
            <a:extLst>
              <a:ext uri="{FF2B5EF4-FFF2-40B4-BE49-F238E27FC236}">
                <a16:creationId xmlns:a16="http://schemas.microsoft.com/office/drawing/2014/main" id="{20133254-A6D9-241C-E89D-8E0BF9C770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1659" y="3873294"/>
            <a:ext cx="3776420" cy="283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494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1E2DC39-35C1-274A-A3DE-E11E1F4111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ANK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34B51B9-D210-4610-911A-3594AE3B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1588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us-titre 5">
            <a:extLst>
              <a:ext uri="{FF2B5EF4-FFF2-40B4-BE49-F238E27FC236}">
                <a16:creationId xmlns:a16="http://schemas.microsoft.com/office/drawing/2014/main" id="{95F5A0BE-5AC7-4785-AE94-60226F4ADA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err="1"/>
              <a:t>Review</a:t>
            </a:r>
            <a:r>
              <a:rPr lang="fr-FR" dirty="0"/>
              <a:t> of </a:t>
            </a:r>
            <a:r>
              <a:rPr lang="fr-FR" dirty="0" err="1"/>
              <a:t>possibilities</a:t>
            </a:r>
            <a:endParaRPr lang="fr-FR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AF1C9E8-5BD3-49EF-B1FE-50C2C73C17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UNDERGROUND STORAGE OF AMMONIA (NH3)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4A13D92-93A1-4676-BBF6-A99010A293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M. TORQUET – 23/05/2023</a:t>
            </a:r>
          </a:p>
        </p:txBody>
      </p:sp>
    </p:spTree>
    <p:extLst>
      <p:ext uri="{BB962C8B-B14F-4D97-AF65-F5344CB8AC3E}">
        <p14:creationId xmlns:p14="http://schemas.microsoft.com/office/powerpoint/2010/main" val="24136532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0C20C3B3-288E-493D-A83B-28021E3BA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derground </a:t>
            </a:r>
            <a:r>
              <a:rPr lang="fr-FR" dirty="0" err="1"/>
              <a:t>storage</a:t>
            </a:r>
            <a:r>
              <a:rPr lang="fr-FR" dirty="0"/>
              <a:t> techniques</a:t>
            </a:r>
          </a:p>
        </p:txBody>
      </p:sp>
      <p:sp>
        <p:nvSpPr>
          <p:cNvPr id="7" name="Freeform 28">
            <a:extLst>
              <a:ext uri="{FF2B5EF4-FFF2-40B4-BE49-F238E27FC236}">
                <a16:creationId xmlns:a16="http://schemas.microsoft.com/office/drawing/2014/main" id="{F0D468CA-16C8-4F70-A36A-10FCE440E83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2994687" y="1650500"/>
            <a:ext cx="2593188" cy="49930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25" y="0"/>
              </a:cxn>
              <a:cxn ang="0">
                <a:pos x="1012" y="87"/>
              </a:cxn>
              <a:cxn ang="0">
                <a:pos x="1012" y="87"/>
              </a:cxn>
              <a:cxn ang="0">
                <a:pos x="925" y="174"/>
              </a:cxn>
              <a:cxn ang="0">
                <a:pos x="0" y="174"/>
              </a:cxn>
              <a:cxn ang="0">
                <a:pos x="0" y="0"/>
              </a:cxn>
            </a:cxnLst>
            <a:rect l="0" t="0" r="r" b="b"/>
            <a:pathLst>
              <a:path w="1012" h="174">
                <a:moveTo>
                  <a:pt x="0" y="0"/>
                </a:moveTo>
                <a:cubicBezTo>
                  <a:pt x="925" y="0"/>
                  <a:pt x="925" y="0"/>
                  <a:pt x="925" y="0"/>
                </a:cubicBezTo>
                <a:cubicBezTo>
                  <a:pt x="973" y="0"/>
                  <a:pt x="1012" y="39"/>
                  <a:pt x="1012" y="87"/>
                </a:cubicBezTo>
                <a:cubicBezTo>
                  <a:pt x="1012" y="87"/>
                  <a:pt x="1012" y="87"/>
                  <a:pt x="1012" y="87"/>
                </a:cubicBezTo>
                <a:cubicBezTo>
                  <a:pt x="1012" y="135"/>
                  <a:pt x="973" y="174"/>
                  <a:pt x="925" y="174"/>
                </a:cubicBezTo>
                <a:cubicBezTo>
                  <a:pt x="0" y="174"/>
                  <a:pt x="0" y="174"/>
                  <a:pt x="0" y="17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  <a:t>Salt caver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073A31-4FBA-4B5E-BC3C-2A6BE186001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943496" y="2300937"/>
            <a:ext cx="2717539" cy="19047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Natural Gas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Liquid Hydrocarbons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Liquefied Hydrocarbons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Compressed Air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Hydrogen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Effluents</a:t>
            </a:r>
          </a:p>
        </p:txBody>
      </p:sp>
      <p:pic>
        <p:nvPicPr>
          <p:cNvPr id="9" name="Image 8" descr="Une image contenant assis, table, pièce&#10;&#10;Description générée automatiquement">
            <a:extLst>
              <a:ext uri="{FF2B5EF4-FFF2-40B4-BE49-F238E27FC236}">
                <a16:creationId xmlns:a16="http://schemas.microsoft.com/office/drawing/2014/main" id="{A94AD52B-B94E-4336-9F34-90543F6ED58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2" t="21236" r="27811" b="22575"/>
          <a:stretch/>
        </p:blipFill>
        <p:spPr>
          <a:xfrm>
            <a:off x="1051518" y="1531709"/>
            <a:ext cx="1320887" cy="2443752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64EB464-157A-4E53-8EC9-2EF3116DC19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09" t="22766" r="28255" b="22001"/>
          <a:stretch/>
        </p:blipFill>
        <p:spPr>
          <a:xfrm>
            <a:off x="1100649" y="4205732"/>
            <a:ext cx="1260739" cy="2443752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sp>
        <p:nvSpPr>
          <p:cNvPr id="13" name="Freeform 28">
            <a:extLst>
              <a:ext uri="{FF2B5EF4-FFF2-40B4-BE49-F238E27FC236}">
                <a16:creationId xmlns:a16="http://schemas.microsoft.com/office/drawing/2014/main" id="{9A685D98-07AA-4621-B2D9-4A5A41B96E1E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2986721" y="4358132"/>
            <a:ext cx="2593188" cy="49930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25" y="0"/>
              </a:cxn>
              <a:cxn ang="0">
                <a:pos x="1012" y="87"/>
              </a:cxn>
              <a:cxn ang="0">
                <a:pos x="1012" y="87"/>
              </a:cxn>
              <a:cxn ang="0">
                <a:pos x="925" y="174"/>
              </a:cxn>
              <a:cxn ang="0">
                <a:pos x="0" y="174"/>
              </a:cxn>
              <a:cxn ang="0">
                <a:pos x="0" y="0"/>
              </a:cxn>
            </a:cxnLst>
            <a:rect l="0" t="0" r="r" b="b"/>
            <a:pathLst>
              <a:path w="1012" h="174">
                <a:moveTo>
                  <a:pt x="0" y="0"/>
                </a:moveTo>
                <a:cubicBezTo>
                  <a:pt x="925" y="0"/>
                  <a:pt x="925" y="0"/>
                  <a:pt x="925" y="0"/>
                </a:cubicBezTo>
                <a:cubicBezTo>
                  <a:pt x="973" y="0"/>
                  <a:pt x="1012" y="39"/>
                  <a:pt x="1012" y="87"/>
                </a:cubicBezTo>
                <a:cubicBezTo>
                  <a:pt x="1012" y="87"/>
                  <a:pt x="1012" y="87"/>
                  <a:pt x="1012" y="87"/>
                </a:cubicBezTo>
                <a:cubicBezTo>
                  <a:pt x="1012" y="135"/>
                  <a:pt x="973" y="174"/>
                  <a:pt x="925" y="174"/>
                </a:cubicBezTo>
                <a:cubicBezTo>
                  <a:pt x="0" y="174"/>
                  <a:pt x="0" y="174"/>
                  <a:pt x="0" y="174"/>
                </a:cubicBezTo>
                <a:lnTo>
                  <a:pt x="0" y="0"/>
                </a:lnTo>
                <a:close/>
              </a:path>
            </a:pathLst>
          </a:custGeom>
          <a:solidFill>
            <a:srgbClr val="FF7736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  <a:t>Depleted fields &amp; aquif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E13956-8F04-4E83-9D7A-D89F28BB61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935530" y="5008569"/>
            <a:ext cx="2717539" cy="15286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Natural Gas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Compressed Air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Hydrogen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CO</a:t>
            </a:r>
            <a:r>
              <a:rPr lang="en-US" sz="1400" kern="0" baseline="-25000" dirty="0">
                <a:solidFill>
                  <a:srgbClr val="004489"/>
                </a:solidFill>
                <a:latin typeface="Vinci Sans "/>
              </a:rPr>
              <a:t>2</a:t>
            </a:r>
          </a:p>
          <a:p>
            <a:pPr marL="228594" lvl="0" indent="-228594" defTabSz="609483">
              <a:spcAft>
                <a:spcPts val="667"/>
              </a:spcAft>
              <a:buClr>
                <a:srgbClr val="2F7DC1"/>
              </a:buClr>
              <a:buFont typeface="Arial" panose="020B0604020202020204" pitchFamily="34" charset="0"/>
              <a:buChar char="●"/>
              <a:defRPr/>
            </a:pPr>
            <a:r>
              <a:rPr lang="en-US" sz="1400" kern="0" dirty="0">
                <a:solidFill>
                  <a:srgbClr val="004489"/>
                </a:solidFill>
                <a:latin typeface="Vinci Sans "/>
              </a:rPr>
              <a:t>Effluents</a:t>
            </a:r>
          </a:p>
        </p:txBody>
      </p:sp>
      <p:pic>
        <p:nvPicPr>
          <p:cNvPr id="15" name="Image 14" descr="Une image contenant assis, table, blanc, pièce&#10;&#10;Description générée automatiquement">
            <a:extLst>
              <a:ext uri="{FF2B5EF4-FFF2-40B4-BE49-F238E27FC236}">
                <a16:creationId xmlns:a16="http://schemas.microsoft.com/office/drawing/2014/main" id="{4A63BEC5-2A61-4533-BDB9-0F1586A081A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85" t="24067" r="28218" b="22000"/>
          <a:stretch/>
        </p:blipFill>
        <p:spPr>
          <a:xfrm>
            <a:off x="6133661" y="2226796"/>
            <a:ext cx="1944143" cy="3698715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sp>
        <p:nvSpPr>
          <p:cNvPr id="16" name="Freeform 28">
            <a:extLst>
              <a:ext uri="{FF2B5EF4-FFF2-40B4-BE49-F238E27FC236}">
                <a16:creationId xmlns:a16="http://schemas.microsoft.com/office/drawing/2014/main" id="{9619E904-344D-43A0-9ABA-D5AC00DAA571}"/>
              </a:ext>
            </a:extLst>
          </p:cNvPr>
          <p:cNvSpPr>
            <a:spLocks noChangeAspect="1"/>
          </p:cNvSpPr>
          <p:nvPr/>
        </p:nvSpPr>
        <p:spPr bwMode="auto">
          <a:xfrm>
            <a:off x="8485622" y="1656152"/>
            <a:ext cx="2669303" cy="49930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25" y="0"/>
              </a:cxn>
              <a:cxn ang="0">
                <a:pos x="1012" y="87"/>
              </a:cxn>
              <a:cxn ang="0">
                <a:pos x="1012" y="87"/>
              </a:cxn>
              <a:cxn ang="0">
                <a:pos x="925" y="174"/>
              </a:cxn>
              <a:cxn ang="0">
                <a:pos x="0" y="174"/>
              </a:cxn>
              <a:cxn ang="0">
                <a:pos x="0" y="0"/>
              </a:cxn>
            </a:cxnLst>
            <a:rect l="0" t="0" r="r" b="b"/>
            <a:pathLst>
              <a:path w="1012" h="174">
                <a:moveTo>
                  <a:pt x="0" y="0"/>
                </a:moveTo>
                <a:cubicBezTo>
                  <a:pt x="925" y="0"/>
                  <a:pt x="925" y="0"/>
                  <a:pt x="925" y="0"/>
                </a:cubicBezTo>
                <a:cubicBezTo>
                  <a:pt x="973" y="0"/>
                  <a:pt x="1012" y="39"/>
                  <a:pt x="1012" y="87"/>
                </a:cubicBezTo>
                <a:cubicBezTo>
                  <a:pt x="1012" y="87"/>
                  <a:pt x="1012" y="87"/>
                  <a:pt x="1012" y="87"/>
                </a:cubicBezTo>
                <a:cubicBezTo>
                  <a:pt x="1012" y="135"/>
                  <a:pt x="973" y="174"/>
                  <a:pt x="925" y="174"/>
                </a:cubicBezTo>
                <a:cubicBezTo>
                  <a:pt x="0" y="174"/>
                  <a:pt x="0" y="174"/>
                  <a:pt x="0" y="174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  <a:t>Mined rock caverns (unlined</a:t>
            </a:r>
            <a:r>
              <a:rPr lang="en-US" sz="1600" b="1" dirty="0">
                <a:solidFill>
                  <a:prstClr val="white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FC9F3E5-26AD-4ADD-958E-5CDA75ED43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0336" y="2300938"/>
            <a:ext cx="3095688" cy="9438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 algn="just" defTabSz="609483">
              <a:spcAft>
                <a:spcPts val="800"/>
              </a:spcAft>
              <a:buClr>
                <a:srgbClr val="FFC000"/>
              </a:buClr>
              <a:buFont typeface="Arial" panose="020B0604020202020204" pitchFamily="34" charset="0"/>
              <a:buChar char="●"/>
            </a:pPr>
            <a:r>
              <a:rPr lang="en-US" sz="1400" dirty="0">
                <a:solidFill>
                  <a:srgbClr val="004489"/>
                </a:solidFill>
                <a:latin typeface="Vinci Sans "/>
                <a:cs typeface="Arial" panose="020B0604020202020204" pitchFamily="34" charset="0"/>
              </a:rPr>
              <a:t>Liquid Hydrocarbons</a:t>
            </a:r>
          </a:p>
          <a:p>
            <a:pPr marL="380990" indent="-380990" algn="just" defTabSz="609483">
              <a:spcAft>
                <a:spcPts val="800"/>
              </a:spcAft>
              <a:buClr>
                <a:srgbClr val="FFC000"/>
              </a:buClr>
              <a:buFont typeface="Arial" panose="020B0604020202020204" pitchFamily="34" charset="0"/>
              <a:buChar char="●"/>
            </a:pPr>
            <a:r>
              <a:rPr lang="en-US" sz="1400" dirty="0">
                <a:solidFill>
                  <a:srgbClr val="004489"/>
                </a:solidFill>
                <a:latin typeface="Vinci Sans "/>
                <a:cs typeface="Arial" panose="020B0604020202020204" pitchFamily="34" charset="0"/>
              </a:rPr>
              <a:t>Liquefied Hydrocarbons</a:t>
            </a:r>
          </a:p>
          <a:p>
            <a:pPr marL="380990" indent="-380990" algn="just" defTabSz="609483">
              <a:spcAft>
                <a:spcPts val="800"/>
              </a:spcAft>
              <a:buClr>
                <a:srgbClr val="FFC000"/>
              </a:buClr>
              <a:buFont typeface="Arial" panose="020B0604020202020204" pitchFamily="34" charset="0"/>
              <a:buChar char="●"/>
            </a:pPr>
            <a:r>
              <a:rPr lang="en-US" sz="1400" dirty="0">
                <a:solidFill>
                  <a:srgbClr val="004489"/>
                </a:solidFill>
                <a:latin typeface="Vinci Sans "/>
                <a:cs typeface="Arial" panose="020B0604020202020204" pitchFamily="34" charset="0"/>
              </a:rPr>
              <a:t>Natural Gas</a:t>
            </a:r>
          </a:p>
        </p:txBody>
      </p:sp>
      <p:sp>
        <p:nvSpPr>
          <p:cNvPr id="18" name="Freeform 28">
            <a:extLst>
              <a:ext uri="{FF2B5EF4-FFF2-40B4-BE49-F238E27FC236}">
                <a16:creationId xmlns:a16="http://schemas.microsoft.com/office/drawing/2014/main" id="{FB2D6F03-2CB1-4D00-9FD2-46B362DE10D2}"/>
              </a:ext>
            </a:extLst>
          </p:cNvPr>
          <p:cNvSpPr>
            <a:spLocks noChangeAspect="1"/>
          </p:cNvSpPr>
          <p:nvPr/>
        </p:nvSpPr>
        <p:spPr bwMode="auto">
          <a:xfrm>
            <a:off x="8485623" y="4524727"/>
            <a:ext cx="2669301" cy="49930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25" y="0"/>
              </a:cxn>
              <a:cxn ang="0">
                <a:pos x="1012" y="87"/>
              </a:cxn>
              <a:cxn ang="0">
                <a:pos x="1012" y="87"/>
              </a:cxn>
              <a:cxn ang="0">
                <a:pos x="925" y="174"/>
              </a:cxn>
              <a:cxn ang="0">
                <a:pos x="0" y="174"/>
              </a:cxn>
              <a:cxn ang="0">
                <a:pos x="0" y="0"/>
              </a:cxn>
            </a:cxnLst>
            <a:rect l="0" t="0" r="r" b="b"/>
            <a:pathLst>
              <a:path w="1012" h="174">
                <a:moveTo>
                  <a:pt x="0" y="0"/>
                </a:moveTo>
                <a:cubicBezTo>
                  <a:pt x="925" y="0"/>
                  <a:pt x="925" y="0"/>
                  <a:pt x="925" y="0"/>
                </a:cubicBezTo>
                <a:cubicBezTo>
                  <a:pt x="973" y="0"/>
                  <a:pt x="1012" y="39"/>
                  <a:pt x="1012" y="87"/>
                </a:cubicBezTo>
                <a:cubicBezTo>
                  <a:pt x="1012" y="87"/>
                  <a:pt x="1012" y="87"/>
                  <a:pt x="1012" y="87"/>
                </a:cubicBezTo>
                <a:cubicBezTo>
                  <a:pt x="1012" y="135"/>
                  <a:pt x="973" y="174"/>
                  <a:pt x="925" y="174"/>
                </a:cubicBezTo>
                <a:cubicBezTo>
                  <a:pt x="0" y="174"/>
                  <a:pt x="0" y="174"/>
                  <a:pt x="0" y="174"/>
                </a:cubicBezTo>
                <a:lnTo>
                  <a:pt x="0" y="0"/>
                </a:lnTo>
                <a:close/>
              </a:path>
            </a:pathLst>
          </a:custGeom>
          <a:solidFill>
            <a:srgbClr val="99CCFF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  <a:t>Mined rock caverns</a:t>
            </a:r>
            <a:b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</a:br>
            <a:r>
              <a:rPr lang="en-US" sz="1800" dirty="0">
                <a:solidFill>
                  <a:prstClr val="white"/>
                </a:solidFill>
                <a:latin typeface="Vinci Sans Medium" panose="02000000000000000000" pitchFamily="50" charset="0"/>
                <a:cs typeface="Arial" panose="020B0604020202020204" pitchFamily="34" charset="0"/>
              </a:rPr>
              <a:t>(lined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466A8EA-7780-48AE-AAE6-59D533BA56C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70337" y="5240096"/>
            <a:ext cx="3283599" cy="107734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 defTabSz="609483">
              <a:spcAft>
                <a:spcPts val="800"/>
              </a:spcAft>
              <a:buClr>
                <a:srgbClr val="99CCFF"/>
              </a:buClr>
              <a:buFont typeface="Arial" panose="020B0604020202020204" pitchFamily="34" charset="0"/>
              <a:buChar char="●"/>
            </a:pPr>
            <a: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  <a:t>LNG</a:t>
            </a:r>
            <a:b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  <a:t>(Liquefied Natural Gas)</a:t>
            </a:r>
          </a:p>
          <a:p>
            <a:pPr marL="380990" indent="-380990" defTabSz="609483">
              <a:spcAft>
                <a:spcPts val="800"/>
              </a:spcAft>
              <a:buClr>
                <a:srgbClr val="99CCFF"/>
              </a:buClr>
              <a:buFont typeface="Arial" panose="020B0604020202020204" pitchFamily="34" charset="0"/>
              <a:buChar char="●"/>
            </a:pPr>
            <a: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  <a:t>CNG</a:t>
            </a:r>
            <a:b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004489"/>
                </a:solidFill>
                <a:latin typeface="Vinci Sans" panose="020B0501040101020203" pitchFamily="2" charset="0"/>
                <a:cs typeface="Arial" panose="020B0604020202020204" pitchFamily="34" charset="0"/>
              </a:rPr>
              <a:t>(Compressed Natural Gas)</a:t>
            </a:r>
          </a:p>
        </p:txBody>
      </p:sp>
    </p:spTree>
    <p:extLst>
      <p:ext uri="{BB962C8B-B14F-4D97-AF65-F5344CB8AC3E}">
        <p14:creationId xmlns:p14="http://schemas.microsoft.com/office/powerpoint/2010/main" val="3822476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4</a:t>
            </a:fld>
            <a:endParaRPr lang="fr-FR"/>
          </a:p>
        </p:txBody>
      </p:sp>
      <p:pic>
        <p:nvPicPr>
          <p:cNvPr id="2" name="Espace réservé du contenu 1">
            <a:extLst>
              <a:ext uri="{FF2B5EF4-FFF2-40B4-BE49-F238E27FC236}">
                <a16:creationId xmlns:a16="http://schemas.microsoft.com/office/drawing/2014/main" id="{0E7DFC70-73A5-42C9-AE0E-127A55A295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15936" y="297099"/>
            <a:ext cx="5924067" cy="2172763"/>
          </a:xfrm>
          <a:prstGeom prst="rect">
            <a:avLst/>
          </a:prstGeom>
        </p:spPr>
      </p:pic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Why</a:t>
            </a:r>
            <a:r>
              <a:rPr lang="fr-FR" dirty="0"/>
              <a:t> </a:t>
            </a:r>
            <a:r>
              <a:rPr lang="fr-FR" dirty="0" err="1"/>
              <a:t>storing</a:t>
            </a:r>
            <a:r>
              <a:rPr lang="fr-FR" dirty="0"/>
              <a:t> </a:t>
            </a:r>
            <a:r>
              <a:rPr lang="fr-FR" dirty="0" err="1"/>
              <a:t>ammonia</a:t>
            </a:r>
            <a:r>
              <a:rPr lang="fr-FR" dirty="0"/>
              <a:t> ?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904784D-15CF-446C-9155-4B82ED4816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418" y="3720354"/>
            <a:ext cx="4820543" cy="2954052"/>
          </a:xfrm>
          <a:prstGeom prst="rect">
            <a:avLst/>
          </a:prstGeom>
        </p:spPr>
      </p:pic>
      <p:sp>
        <p:nvSpPr>
          <p:cNvPr id="14" name="Espace réservé du contenu 1">
            <a:extLst>
              <a:ext uri="{FF2B5EF4-FFF2-40B4-BE49-F238E27FC236}">
                <a16:creationId xmlns:a16="http://schemas.microsoft.com/office/drawing/2014/main" id="{462D8B38-A48C-4AF8-8472-83AE0B22D5A1}"/>
              </a:ext>
            </a:extLst>
          </p:cNvPr>
          <p:cNvSpPr txBox="1">
            <a:spLocks/>
          </p:cNvSpPr>
          <p:nvPr/>
        </p:nvSpPr>
        <p:spPr>
          <a:xfrm>
            <a:off x="1179200" y="786354"/>
            <a:ext cx="8856983" cy="1944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565"/>
              </a:spcAft>
            </a:pPr>
            <a:endParaRPr lang="fr-FR" dirty="0"/>
          </a:p>
          <a:p>
            <a:pPr>
              <a:spcAft>
                <a:spcPts val="565"/>
              </a:spcAft>
              <a:buClr>
                <a:srgbClr val="004489"/>
              </a:buClr>
              <a:buSzPts val="1000"/>
            </a:pPr>
            <a:r>
              <a:rPr lang="fr-FR" dirty="0"/>
              <a:t>- Energy </a:t>
            </a:r>
            <a:r>
              <a:rPr lang="fr-FR" dirty="0" err="1"/>
              <a:t>density</a:t>
            </a:r>
            <a:r>
              <a:rPr lang="fr-FR" dirty="0"/>
              <a:t> important;</a:t>
            </a:r>
          </a:p>
          <a:p>
            <a:pPr>
              <a:spcAft>
                <a:spcPts val="565"/>
              </a:spcAft>
              <a:buClr>
                <a:srgbClr val="004489"/>
              </a:buClr>
              <a:buSzPts val="1000"/>
            </a:pPr>
            <a:r>
              <a:rPr lang="fr-FR" dirty="0"/>
              <a:t>- </a:t>
            </a:r>
            <a:r>
              <a:rPr lang="fr-FR" dirty="0" err="1"/>
              <a:t>Easily</a:t>
            </a:r>
            <a:r>
              <a:rPr lang="fr-FR" dirty="0"/>
              <a:t> </a:t>
            </a:r>
            <a:r>
              <a:rPr lang="fr-FR" dirty="0" err="1"/>
              <a:t>shipable</a:t>
            </a:r>
            <a:r>
              <a:rPr lang="fr-FR" dirty="0"/>
              <a:t> ;</a:t>
            </a:r>
          </a:p>
          <a:p>
            <a:pPr>
              <a:spcAft>
                <a:spcPts val="565"/>
              </a:spcAft>
              <a:buClr>
                <a:srgbClr val="004489"/>
              </a:buClr>
              <a:buSzPts val="1000"/>
            </a:pPr>
            <a:r>
              <a:rPr lang="fr-FR" dirty="0"/>
              <a:t>- </a:t>
            </a:r>
            <a:r>
              <a:rPr lang="fr-FR" dirty="0" err="1"/>
              <a:t>Easily</a:t>
            </a:r>
            <a:r>
              <a:rPr lang="fr-FR" dirty="0"/>
              <a:t> </a:t>
            </a:r>
            <a:r>
              <a:rPr lang="fr-FR" dirty="0" err="1"/>
              <a:t>storable</a:t>
            </a:r>
            <a:r>
              <a:rPr lang="fr-FR" dirty="0"/>
              <a:t> at </a:t>
            </a:r>
            <a:r>
              <a:rPr lang="fr-FR" dirty="0" err="1"/>
              <a:t>low</a:t>
            </a:r>
            <a:r>
              <a:rPr lang="fr-FR" dirty="0"/>
              <a:t> pressure and ambiant </a:t>
            </a:r>
            <a:r>
              <a:rPr lang="fr-FR" dirty="0" err="1"/>
              <a:t>temperature</a:t>
            </a:r>
            <a:r>
              <a:rPr lang="fr-FR" dirty="0"/>
              <a:t>.</a:t>
            </a:r>
          </a:p>
          <a:p>
            <a:pPr>
              <a:spcAft>
                <a:spcPts val="565"/>
              </a:spcAft>
            </a:pPr>
            <a:r>
              <a:rPr lang="fr-FR" dirty="0" err="1"/>
              <a:t>With</a:t>
            </a:r>
            <a:r>
              <a:rPr lang="fr-FR" dirty="0"/>
              <a:t> all </a:t>
            </a:r>
            <a:r>
              <a:rPr lang="fr-FR" dirty="0" err="1"/>
              <a:t>these</a:t>
            </a:r>
            <a:r>
              <a:rPr lang="fr-FR" dirty="0"/>
              <a:t> points, NH3 </a:t>
            </a:r>
            <a:r>
              <a:rPr lang="fr-FR" dirty="0" err="1"/>
              <a:t>is</a:t>
            </a:r>
            <a:r>
              <a:rPr lang="fr-FR" dirty="0"/>
              <a:t> a good candidate for </a:t>
            </a:r>
            <a:r>
              <a:rPr lang="fr-FR" dirty="0" err="1"/>
              <a:t>energy</a:t>
            </a:r>
            <a:r>
              <a:rPr lang="fr-FR" dirty="0"/>
              <a:t> carrier. </a:t>
            </a:r>
            <a:r>
              <a:rPr lang="fr-FR" dirty="0" err="1"/>
              <a:t>Therefore</a:t>
            </a:r>
            <a:r>
              <a:rPr lang="fr-FR" dirty="0"/>
              <a:t> NH3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getting</a:t>
            </a:r>
            <a:r>
              <a:rPr lang="fr-FR" dirty="0"/>
              <a:t> a lot of attention as a « transportable » H2.</a:t>
            </a:r>
          </a:p>
          <a:p>
            <a:pPr marL="285750" indent="-285750">
              <a:buFontTx/>
              <a:buChar char="-"/>
            </a:pPr>
            <a:endParaRPr lang="fr-FR" sz="1800" dirty="0"/>
          </a:p>
        </p:txBody>
      </p:sp>
      <p:sp>
        <p:nvSpPr>
          <p:cNvPr id="5" name="Espace réservé du contenu 1">
            <a:extLst>
              <a:ext uri="{FF2B5EF4-FFF2-40B4-BE49-F238E27FC236}">
                <a16:creationId xmlns:a16="http://schemas.microsoft.com/office/drawing/2014/main" id="{2F5F5261-D367-FF16-354F-9AD085FFE6A5}"/>
              </a:ext>
            </a:extLst>
          </p:cNvPr>
          <p:cNvSpPr txBox="1">
            <a:spLocks/>
          </p:cNvSpPr>
          <p:nvPr/>
        </p:nvSpPr>
        <p:spPr>
          <a:xfrm>
            <a:off x="5852229" y="3847434"/>
            <a:ext cx="5757569" cy="2594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Vinci Sans" panose="020B0501040101020203" pitchFamily="34" charset="77"/>
                <a:ea typeface="+mn-ea"/>
                <a:cs typeface="Gotham Bold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565"/>
              </a:spcAft>
            </a:pPr>
            <a:r>
              <a:rPr lang="fr-FR" sz="1800" b="1" dirty="0"/>
              <a:t>TODAY : </a:t>
            </a:r>
            <a:r>
              <a:rPr lang="fr-FR" sz="1800" dirty="0"/>
              <a:t>NH3 production </a:t>
            </a:r>
            <a:r>
              <a:rPr lang="fr-FR" sz="1800" dirty="0" err="1"/>
              <a:t>is</a:t>
            </a:r>
            <a:r>
              <a:rPr lang="fr-FR" sz="1800" dirty="0"/>
              <a:t> </a:t>
            </a:r>
            <a:r>
              <a:rPr lang="fr-FR" sz="1800" dirty="0" err="1"/>
              <a:t>done</a:t>
            </a:r>
            <a:r>
              <a:rPr lang="fr-FR" sz="1800" dirty="0"/>
              <a:t> </a:t>
            </a:r>
            <a:r>
              <a:rPr lang="fr-FR" sz="1800" dirty="0" err="1"/>
              <a:t>with</a:t>
            </a:r>
            <a:r>
              <a:rPr lang="fr-FR" sz="1800" dirty="0"/>
              <a:t> </a:t>
            </a:r>
            <a:r>
              <a:rPr lang="fr-FR" sz="1800" dirty="0" err="1"/>
              <a:t>natural</a:t>
            </a:r>
            <a:r>
              <a:rPr lang="fr-FR" sz="1800" dirty="0"/>
              <a:t> </a:t>
            </a:r>
            <a:r>
              <a:rPr lang="fr-FR" sz="1800" dirty="0" err="1"/>
              <a:t>gas</a:t>
            </a:r>
            <a:r>
              <a:rPr lang="fr-FR" sz="1800" dirty="0"/>
              <a:t> </a:t>
            </a:r>
            <a:r>
              <a:rPr lang="fr-FR" sz="1800" dirty="0" err="1"/>
              <a:t>reaction</a:t>
            </a:r>
            <a:r>
              <a:rPr lang="fr-FR" sz="1800" dirty="0"/>
              <a:t> (Haber-Bosch process) to </a:t>
            </a:r>
            <a:r>
              <a:rPr lang="fr-FR" sz="1800" dirty="0" err="1"/>
              <a:t>produce</a:t>
            </a:r>
            <a:r>
              <a:rPr lang="fr-FR" sz="1800" dirty="0"/>
              <a:t> </a:t>
            </a:r>
            <a:r>
              <a:rPr lang="fr-FR" sz="1800" dirty="0" err="1"/>
              <a:t>fertilizer</a:t>
            </a:r>
            <a:r>
              <a:rPr lang="fr-FR" sz="1800" dirty="0"/>
              <a:t>.</a:t>
            </a:r>
          </a:p>
          <a:p>
            <a:pPr>
              <a:spcAft>
                <a:spcPts val="565"/>
              </a:spcAft>
            </a:pPr>
            <a:r>
              <a:rPr lang="fr-FR" sz="1800" b="1" dirty="0"/>
              <a:t>TOMORROW </a:t>
            </a:r>
            <a:r>
              <a:rPr lang="fr-FR" sz="1800" dirty="0"/>
              <a:t>: Green H2 </a:t>
            </a:r>
            <a:r>
              <a:rPr lang="fr-FR" sz="1800" dirty="0" err="1"/>
              <a:t>will</a:t>
            </a:r>
            <a:r>
              <a:rPr lang="fr-FR" sz="1800" dirty="0"/>
              <a:t> replace </a:t>
            </a:r>
            <a:r>
              <a:rPr lang="fr-FR" sz="1800" dirty="0" err="1"/>
              <a:t>natural</a:t>
            </a:r>
            <a:r>
              <a:rPr lang="fr-FR" sz="1800" dirty="0"/>
              <a:t> </a:t>
            </a:r>
            <a:r>
              <a:rPr lang="fr-FR" sz="1800" dirty="0" err="1"/>
              <a:t>gas</a:t>
            </a:r>
            <a:r>
              <a:rPr lang="fr-FR" sz="1800" dirty="0"/>
              <a:t> reforming for H2 production </a:t>
            </a:r>
            <a:r>
              <a:rPr lang="fr-FR" sz="1800" dirty="0" err="1"/>
              <a:t>involved</a:t>
            </a:r>
            <a:r>
              <a:rPr lang="fr-FR" sz="1800" dirty="0"/>
              <a:t> in </a:t>
            </a:r>
            <a:r>
              <a:rPr lang="fr-FR" sz="1800" dirty="0" err="1"/>
              <a:t>ammonia</a:t>
            </a:r>
            <a:r>
              <a:rPr lang="fr-FR" sz="1800" dirty="0"/>
              <a:t> process.</a:t>
            </a:r>
          </a:p>
        </p:txBody>
      </p:sp>
    </p:spTree>
    <p:extLst>
      <p:ext uri="{BB962C8B-B14F-4D97-AF65-F5344CB8AC3E}">
        <p14:creationId xmlns:p14="http://schemas.microsoft.com/office/powerpoint/2010/main" val="643009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PECIFICITY OF AMMONIA (NH</a:t>
            </a:r>
            <a:r>
              <a:rPr lang="fr-FR" baseline="-25000" dirty="0"/>
              <a:t>3</a:t>
            </a:r>
            <a:r>
              <a:rPr lang="fr-FR" dirty="0"/>
              <a:t>)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04AD59D-0E35-4923-841C-60E91954AD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75" t="38800" r="44488" b="44400"/>
          <a:stretch/>
        </p:blipFill>
        <p:spPr>
          <a:xfrm>
            <a:off x="1479399" y="2604562"/>
            <a:ext cx="3265167" cy="1058973"/>
          </a:xfrm>
          <a:prstGeom prst="rect">
            <a:avLst/>
          </a:prstGeom>
        </p:spPr>
      </p:pic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0C3B34A-D4BB-430C-B0D9-AC813C2A0D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9943" y="1053274"/>
            <a:ext cx="10958419" cy="2095671"/>
          </a:xfrm>
        </p:spPr>
        <p:txBody>
          <a:bodyPr/>
          <a:lstStyle/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 err="1"/>
              <a:t>Ammonia</a:t>
            </a:r>
            <a:r>
              <a:rPr lang="fr-FR" dirty="0"/>
              <a:t> </a:t>
            </a:r>
            <a:r>
              <a:rPr lang="fr-FR" dirty="0" err="1"/>
              <a:t>reacts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water ! And </a:t>
            </a:r>
            <a:r>
              <a:rPr lang="fr-FR" dirty="0" err="1"/>
              <a:t>it’s</a:t>
            </a:r>
            <a:r>
              <a:rPr lang="fr-FR" dirty="0"/>
              <a:t> </a:t>
            </a:r>
            <a:r>
              <a:rPr lang="fr-FR" dirty="0" err="1"/>
              <a:t>exothermic</a:t>
            </a:r>
            <a:r>
              <a:rPr lang="fr-FR" dirty="0"/>
              <a:t> !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2000 kJ/kg of NH</a:t>
            </a:r>
            <a:r>
              <a:rPr lang="fr-FR" baseline="-25000" dirty="0"/>
              <a:t>3</a:t>
            </a:r>
            <a:r>
              <a:rPr lang="fr-FR" dirty="0"/>
              <a:t> dissolve.</a:t>
            </a:r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/>
              <a:t>HSE :					</a:t>
            </a:r>
            <a:r>
              <a:rPr lang="fr-FR" dirty="0" err="1"/>
              <a:t>Vapor</a:t>
            </a:r>
            <a:r>
              <a:rPr lang="fr-FR" dirty="0"/>
              <a:t> pressure </a:t>
            </a:r>
            <a:r>
              <a:rPr lang="fr-FR" dirty="0" err="1"/>
              <a:t>curve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similar</a:t>
            </a:r>
            <a:r>
              <a:rPr lang="fr-FR" dirty="0"/>
              <a:t> to propane </a:t>
            </a:r>
            <a:r>
              <a:rPr lang="fr-FR" dirty="0" err="1"/>
              <a:t>vapor</a:t>
            </a:r>
            <a:r>
              <a:rPr lang="fr-FR" dirty="0"/>
              <a:t> </a:t>
            </a:r>
            <a:r>
              <a:rPr lang="fr-FR" dirty="0" err="1"/>
              <a:t>curve</a:t>
            </a: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endParaRPr lang="fr-FR" dirty="0"/>
          </a:p>
          <a:p>
            <a:pPr algn="just">
              <a:lnSpc>
                <a:spcPts val="1500"/>
              </a:lnSpc>
              <a:spcAft>
                <a:spcPts val="565"/>
              </a:spcAft>
            </a:pPr>
            <a:r>
              <a:rPr lang="fr-FR" dirty="0" err="1"/>
              <a:t>Ammonia</a:t>
            </a:r>
            <a:r>
              <a:rPr lang="fr-FR" dirty="0"/>
              <a:t> </a:t>
            </a:r>
            <a:r>
              <a:rPr lang="fr-FR" dirty="0" err="1"/>
              <a:t>solubility</a:t>
            </a:r>
            <a:r>
              <a:rPr lang="fr-FR" dirty="0"/>
              <a:t> in water</a:t>
            </a:r>
          </a:p>
          <a:p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4F5B612-0F2D-4AF0-9847-0D33AF931E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5661" b="15761"/>
          <a:stretch/>
        </p:blipFill>
        <p:spPr>
          <a:xfrm>
            <a:off x="1066691" y="4253438"/>
            <a:ext cx="4896348" cy="2095670"/>
          </a:xfrm>
          <a:prstGeom prst="rect">
            <a:avLst/>
          </a:prstGeom>
        </p:spPr>
      </p:pic>
      <p:pic>
        <p:nvPicPr>
          <p:cNvPr id="12" name="Espace réservé du contenu 3">
            <a:extLst>
              <a:ext uri="{FF2B5EF4-FFF2-40B4-BE49-F238E27FC236}">
                <a16:creationId xmlns:a16="http://schemas.microsoft.com/office/drawing/2014/main" id="{2CC6BE32-934D-4037-BB64-FEB7EA080972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460790" y="2732805"/>
            <a:ext cx="4966447" cy="298460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90946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1E2DC39-35C1-274A-A3DE-E11E1F4111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01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34B51B9-D210-4610-911A-3594AE3B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EXISTING </a:t>
            </a:r>
            <a:r>
              <a:rPr lang="fr-FR" dirty="0"/>
              <a:t>STORAGES IN                    UNLINED MINED ROCK CAVERN</a:t>
            </a:r>
            <a:br>
              <a:rPr lang="fr-FR" dirty="0"/>
            </a:br>
            <a:endParaRPr lang="fr-FR" dirty="0"/>
          </a:p>
        </p:txBody>
      </p:sp>
      <p:pic>
        <p:nvPicPr>
          <p:cNvPr id="2" name="Image 1" descr="Une image contenant assis, table, blanc, pièce&#10;&#10;Description générée automatiquement">
            <a:extLst>
              <a:ext uri="{FF2B5EF4-FFF2-40B4-BE49-F238E27FC236}">
                <a16:creationId xmlns:a16="http://schemas.microsoft.com/office/drawing/2014/main" id="{9741CBB8-1647-F107-EF0F-CD877C0779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85" t="24067" r="28218" b="22000"/>
          <a:stretch/>
        </p:blipFill>
        <p:spPr>
          <a:xfrm>
            <a:off x="9033819" y="20548"/>
            <a:ext cx="3132214" cy="5959011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821485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ictures of </a:t>
            </a:r>
            <a:r>
              <a:rPr lang="fr-FR" dirty="0" err="1"/>
              <a:t>Unlined</a:t>
            </a:r>
            <a:r>
              <a:rPr lang="fr-FR" dirty="0"/>
              <a:t> </a:t>
            </a:r>
            <a:r>
              <a:rPr lang="fr-FR" dirty="0" err="1"/>
              <a:t>Mined</a:t>
            </a:r>
            <a:r>
              <a:rPr lang="fr-FR" dirty="0"/>
              <a:t> Rock </a:t>
            </a:r>
            <a:r>
              <a:rPr lang="fr-FR" dirty="0" err="1"/>
              <a:t>Cavern</a:t>
            </a:r>
            <a:endParaRPr lang="fr-FR" dirty="0"/>
          </a:p>
        </p:txBody>
      </p:sp>
      <p:pic>
        <p:nvPicPr>
          <p:cNvPr id="2" name="Image 1" descr="Une image contenant extérieur, passage, rue, voûte&#10;&#10;Description générée automatiquement">
            <a:extLst>
              <a:ext uri="{FF2B5EF4-FFF2-40B4-BE49-F238E27FC236}">
                <a16:creationId xmlns:a16="http://schemas.microsoft.com/office/drawing/2014/main" id="{FA8ED494-ED7F-198D-CB10-058B93A12F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248" y="1176905"/>
            <a:ext cx="3240360" cy="4466458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45A5563-AD55-95A4-295C-1BFD3FCAC79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8891" y="792653"/>
            <a:ext cx="2011528" cy="268203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AE2E7CA0-1627-7FCC-B59C-557F984CC70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1382" y="3763006"/>
            <a:ext cx="3586545" cy="2689909"/>
          </a:xfrm>
          <a:prstGeom prst="rect">
            <a:avLst/>
          </a:prstGeom>
        </p:spPr>
      </p:pic>
      <p:pic>
        <p:nvPicPr>
          <p:cNvPr id="12" name="Image 11" descr="Une image contenant nature, tunnel ferroviaire, passage, caverne&#10;&#10;Description générée automatiquement">
            <a:extLst>
              <a:ext uri="{FF2B5EF4-FFF2-40B4-BE49-F238E27FC236}">
                <a16:creationId xmlns:a16="http://schemas.microsoft.com/office/drawing/2014/main" id="{D24EB913-FC23-19A7-6AC5-AE6AA4FA240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799"/>
          <a:stretch/>
        </p:blipFill>
        <p:spPr>
          <a:xfrm>
            <a:off x="1582219" y="3870755"/>
            <a:ext cx="2907175" cy="2987245"/>
          </a:xfrm>
          <a:prstGeom prst="rect">
            <a:avLst/>
          </a:prstGeom>
        </p:spPr>
      </p:pic>
      <p:pic>
        <p:nvPicPr>
          <p:cNvPr id="3" name="Image 4">
            <a:extLst>
              <a:ext uri="{FF2B5EF4-FFF2-40B4-BE49-F238E27FC236}">
                <a16:creationId xmlns:a16="http://schemas.microsoft.com/office/drawing/2014/main" id="{41DF86EE-F5DE-2D18-5517-1C71D1DA45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578" y="850042"/>
            <a:ext cx="3776420" cy="2837263"/>
          </a:xfrm>
          <a:prstGeom prst="rect">
            <a:avLst/>
          </a:prstGeom>
        </p:spPr>
      </p:pic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10760E13-64F4-78BA-4B1C-A9DF72541D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4368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BBC2B66-DB5B-D24F-9F44-6EF6BC026C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A03B3-C23C-0A48-8B61-10CEDED60786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EAFD525-5DD2-4A23-861C-D44C19459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ll </a:t>
            </a:r>
            <a:r>
              <a:rPr lang="fr-FR" dirty="0" err="1"/>
              <a:t>storages</a:t>
            </a:r>
            <a:r>
              <a:rPr lang="fr-FR" dirty="0"/>
              <a:t> </a:t>
            </a:r>
            <a:r>
              <a:rPr lang="fr-FR" dirty="0" err="1"/>
              <a:t>presented</a:t>
            </a:r>
            <a:r>
              <a:rPr lang="fr-FR" dirty="0"/>
              <a:t> </a:t>
            </a:r>
            <a:r>
              <a:rPr lang="fr-FR" dirty="0" err="1"/>
              <a:t>here</a:t>
            </a:r>
            <a:r>
              <a:rPr lang="fr-FR" dirty="0"/>
              <a:t> are UNLINED </a:t>
            </a:r>
            <a:r>
              <a:rPr lang="fr-FR" dirty="0" err="1"/>
              <a:t>mined</a:t>
            </a:r>
            <a:r>
              <a:rPr lang="fr-FR" dirty="0"/>
              <a:t> rock </a:t>
            </a:r>
            <a:r>
              <a:rPr lang="fr-FR" dirty="0" err="1"/>
              <a:t>cavern</a:t>
            </a:r>
            <a:r>
              <a:rPr lang="fr-FR" dirty="0"/>
              <a:t>:</a:t>
            </a:r>
          </a:p>
          <a:p>
            <a:pPr marL="285750" indent="-285750">
              <a:buFontTx/>
              <a:buChar char="-"/>
            </a:pPr>
            <a:r>
              <a:rPr lang="fr-FR" dirty="0"/>
              <a:t>Norsk-Hydro </a:t>
            </a:r>
            <a:r>
              <a:rPr lang="fr-FR" dirty="0" err="1"/>
              <a:t>storage</a:t>
            </a:r>
            <a:r>
              <a:rPr lang="fr-FR" dirty="0"/>
              <a:t> in Porsgrunn (1967) </a:t>
            </a:r>
            <a:r>
              <a:rPr lang="fr-FR" dirty="0" err="1"/>
              <a:t>near</a:t>
            </a:r>
            <a:r>
              <a:rPr lang="fr-FR" dirty="0"/>
              <a:t> Oslo (</a:t>
            </a:r>
            <a:r>
              <a:rPr lang="fr-FR" dirty="0" err="1"/>
              <a:t>Norway</a:t>
            </a:r>
            <a:r>
              <a:rPr lang="fr-FR" dirty="0"/>
              <a:t>) : </a:t>
            </a:r>
            <a:r>
              <a:rPr lang="fr-FR" dirty="0" err="1"/>
              <a:t>decommissionned</a:t>
            </a:r>
            <a:r>
              <a:rPr lang="fr-FR" dirty="0"/>
              <a:t>.</a:t>
            </a:r>
          </a:p>
          <a:p>
            <a:r>
              <a:rPr lang="fr-FR" dirty="0" err="1"/>
              <a:t>Pressurised</a:t>
            </a:r>
            <a:r>
              <a:rPr lang="fr-FR" dirty="0"/>
              <a:t> </a:t>
            </a:r>
            <a:r>
              <a:rPr lang="fr-FR" dirty="0" err="1"/>
              <a:t>storage</a:t>
            </a:r>
            <a:r>
              <a:rPr lang="fr-FR" dirty="0"/>
              <a:t> </a:t>
            </a:r>
            <a:r>
              <a:rPr lang="fr-FR" dirty="0" err="1"/>
              <a:t>then</a:t>
            </a:r>
            <a:r>
              <a:rPr lang="fr-FR" dirty="0"/>
              <a:t> </a:t>
            </a:r>
            <a:r>
              <a:rPr lang="fr-FR" dirty="0" err="1"/>
              <a:t>transformed</a:t>
            </a:r>
            <a:r>
              <a:rPr lang="fr-FR" dirty="0"/>
              <a:t> to </a:t>
            </a:r>
            <a:r>
              <a:rPr lang="fr-FR" dirty="0" err="1"/>
              <a:t>refrigerated</a:t>
            </a:r>
            <a:r>
              <a:rPr lang="fr-FR" dirty="0"/>
              <a:t> </a:t>
            </a:r>
            <a:r>
              <a:rPr lang="fr-FR" dirty="0" err="1"/>
              <a:t>storage</a:t>
            </a:r>
            <a:r>
              <a:rPr lang="fr-FR" dirty="0"/>
              <a:t> due to contamination of the </a:t>
            </a:r>
            <a:r>
              <a:rPr lang="fr-FR" dirty="0" err="1"/>
              <a:t>product</a:t>
            </a:r>
            <a:r>
              <a:rPr lang="fr-FR" dirty="0"/>
              <a:t> by </a:t>
            </a:r>
            <a:r>
              <a:rPr lang="fr-FR" dirty="0" err="1"/>
              <a:t>seepage</a:t>
            </a:r>
            <a:r>
              <a:rPr lang="fr-FR" dirty="0"/>
              <a:t> water.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r>
              <a:rPr lang="fr-FR" dirty="0"/>
              <a:t>Stockage Dupont de Nemours aux U.S.A. à </a:t>
            </a:r>
            <a:r>
              <a:rPr lang="fr-FR" dirty="0" err="1"/>
              <a:t>Gibbtown</a:t>
            </a:r>
            <a:r>
              <a:rPr lang="fr-FR" dirty="0"/>
              <a:t> (New Jersey) : </a:t>
            </a:r>
            <a:r>
              <a:rPr lang="fr-FR" dirty="0" err="1"/>
              <a:t>Decommissioned</a:t>
            </a:r>
            <a:r>
              <a:rPr lang="fr-FR" dirty="0"/>
              <a:t>. Possible </a:t>
            </a:r>
            <a:r>
              <a:rPr lang="fr-FR" dirty="0" err="1"/>
              <a:t>reconvertion</a:t>
            </a:r>
            <a:r>
              <a:rPr lang="fr-FR" dirty="0"/>
              <a:t> to LPG in </a:t>
            </a:r>
            <a:r>
              <a:rPr lang="fr-FR" b="1" u="sng" dirty="0"/>
              <a:t>2016</a:t>
            </a:r>
            <a:r>
              <a:rPr lang="fr-FR" dirty="0"/>
              <a:t>.</a:t>
            </a:r>
          </a:p>
          <a:p>
            <a:r>
              <a:rPr lang="fr-FR" dirty="0"/>
              <a:t>NH3 </a:t>
            </a:r>
            <a:r>
              <a:rPr lang="fr-FR" dirty="0" err="1"/>
              <a:t>Refrigerated</a:t>
            </a:r>
            <a:r>
              <a:rPr lang="fr-FR" dirty="0"/>
              <a:t> </a:t>
            </a:r>
            <a:r>
              <a:rPr lang="fr-FR" dirty="0" err="1"/>
              <a:t>storage</a:t>
            </a:r>
            <a:r>
              <a:rPr lang="fr-FR" dirty="0"/>
              <a:t> at -33° C and </a:t>
            </a:r>
            <a:r>
              <a:rPr lang="fr-FR" dirty="0" err="1"/>
              <a:t>Patm</a:t>
            </a:r>
            <a:r>
              <a:rPr lang="fr-FR" dirty="0"/>
              <a:t>.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r>
              <a:rPr lang="fr-FR" dirty="0"/>
              <a:t>Stockage Norsk Hydro à </a:t>
            </a:r>
            <a:r>
              <a:rPr lang="fr-FR" dirty="0" err="1"/>
              <a:t>Glomfjord</a:t>
            </a:r>
            <a:r>
              <a:rPr lang="fr-FR" dirty="0"/>
              <a:t> (</a:t>
            </a:r>
            <a:r>
              <a:rPr lang="fr-FR" dirty="0" err="1"/>
              <a:t>Norway</a:t>
            </a:r>
            <a:r>
              <a:rPr lang="fr-FR" dirty="0"/>
              <a:t>) – </a:t>
            </a:r>
            <a:r>
              <a:rPr lang="fr-FR" dirty="0" err="1"/>
              <a:t>Still</a:t>
            </a:r>
            <a:r>
              <a:rPr lang="fr-FR" dirty="0"/>
              <a:t> in </a:t>
            </a:r>
            <a:r>
              <a:rPr lang="fr-FR" dirty="0" err="1"/>
              <a:t>operation</a:t>
            </a:r>
            <a:r>
              <a:rPr lang="fr-FR" dirty="0"/>
              <a:t> </a:t>
            </a:r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pPr marL="285750" indent="-285750">
              <a:buFontTx/>
              <a:buChar char="-"/>
            </a:pPr>
            <a:endParaRPr lang="fr-FR" dirty="0"/>
          </a:p>
          <a:p>
            <a:r>
              <a:rPr lang="fr-FR" b="1" dirty="0"/>
              <a:t>ALL THESE CAVERNS ARE UNLINED CAVERNS</a:t>
            </a:r>
          </a:p>
          <a:p>
            <a:endParaRPr lang="fr-FR" dirty="0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FC6DB497-984D-4F19-BCBB-4BB6DAF4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nderground </a:t>
            </a:r>
            <a:r>
              <a:rPr lang="fr-FR" dirty="0" err="1"/>
              <a:t>storages</a:t>
            </a:r>
            <a:r>
              <a:rPr lang="fr-FR" dirty="0"/>
              <a:t> of </a:t>
            </a:r>
            <a:r>
              <a:rPr lang="fr-FR" dirty="0" err="1"/>
              <a:t>Ammonia</a:t>
            </a:r>
            <a:r>
              <a:rPr lang="fr-FR" dirty="0"/>
              <a:t> - </a:t>
            </a:r>
            <a:r>
              <a:rPr lang="fr-FR" dirty="0" err="1"/>
              <a:t>existing</a:t>
            </a:r>
            <a:endParaRPr lang="fr-FR" dirty="0"/>
          </a:p>
        </p:txBody>
      </p:sp>
      <p:graphicFrame>
        <p:nvGraphicFramePr>
          <p:cNvPr id="8" name="Tableau 4">
            <a:extLst>
              <a:ext uri="{FF2B5EF4-FFF2-40B4-BE49-F238E27FC236}">
                <a16:creationId xmlns:a16="http://schemas.microsoft.com/office/drawing/2014/main" id="{4A0C8E8D-5E57-4B5D-A28B-0E9F377AE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010625"/>
              </p:ext>
            </p:extLst>
          </p:nvPr>
        </p:nvGraphicFramePr>
        <p:xfrm>
          <a:off x="1775520" y="2391104"/>
          <a:ext cx="8640960" cy="51816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937815968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323209642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22375834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11019377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3868531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Commissioning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year</a:t>
                      </a:r>
                      <a:endParaRPr lang="fr-FR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Volume (m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Len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x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hei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Temperature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°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Pressure (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bara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0494837"/>
                  </a:ext>
                </a:extLst>
              </a:tr>
              <a:tr h="261691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9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5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0 x 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6-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9449642"/>
                  </a:ext>
                </a:extLst>
              </a:tr>
            </a:tbl>
          </a:graphicData>
        </a:graphic>
      </p:graphicFrame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BA13E716-0D90-47D0-810A-2E40217118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514646"/>
              </p:ext>
            </p:extLst>
          </p:nvPr>
        </p:nvGraphicFramePr>
        <p:xfrm>
          <a:off x="1775520" y="3986121"/>
          <a:ext cx="8640960" cy="65468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937815968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323209642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22375834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11019377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386853129"/>
                    </a:ext>
                  </a:extLst>
                </a:gridCol>
              </a:tblGrid>
              <a:tr h="236726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Commissioning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year</a:t>
                      </a:r>
                      <a:endParaRPr lang="fr-FR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Volume (m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Len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x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hei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Temperature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°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Pressure (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bara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0494837"/>
                  </a:ext>
                </a:extLst>
              </a:tr>
              <a:tr h="410845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9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29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Rooms</a:t>
                      </a:r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</a:rPr>
                        <a:t>pillar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-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9449642"/>
                  </a:ext>
                </a:extLst>
              </a:tr>
            </a:tbl>
          </a:graphicData>
        </a:graphic>
      </p:graphicFrame>
      <p:graphicFrame>
        <p:nvGraphicFramePr>
          <p:cNvPr id="11" name="Tableau 4">
            <a:extLst>
              <a:ext uri="{FF2B5EF4-FFF2-40B4-BE49-F238E27FC236}">
                <a16:creationId xmlns:a16="http://schemas.microsoft.com/office/drawing/2014/main" id="{017B2C3A-DA5A-4B7B-BA7C-DFC6CECFA3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405746"/>
              </p:ext>
            </p:extLst>
          </p:nvPr>
        </p:nvGraphicFramePr>
        <p:xfrm>
          <a:off x="1694547" y="5429281"/>
          <a:ext cx="8640960" cy="576261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728192">
                  <a:extLst>
                    <a:ext uri="{9D8B030D-6E8A-4147-A177-3AD203B41FA5}">
                      <a16:colId xmlns:a16="http://schemas.microsoft.com/office/drawing/2014/main" val="2937815968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323209642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22375834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411019377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386853129"/>
                    </a:ext>
                  </a:extLst>
                </a:gridCol>
              </a:tblGrid>
              <a:tr h="301941"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Commissioning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year</a:t>
                      </a:r>
                      <a:endParaRPr lang="fr-FR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Volume (m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Len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x 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heigth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Temperature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 (°C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Pressure (</a:t>
                      </a:r>
                      <a:r>
                        <a:rPr lang="fr-FR" sz="1000" dirty="0" err="1">
                          <a:solidFill>
                            <a:schemeClr val="tx1"/>
                          </a:solidFill>
                        </a:rPr>
                        <a:t>bara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0494837"/>
                  </a:ext>
                </a:extLst>
              </a:tr>
              <a:tr h="244907"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9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6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6 x 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-28 à -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tx1"/>
                          </a:solidFill>
                        </a:rPr>
                        <a:t>1 à 2 ma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9449642"/>
                  </a:ext>
                </a:extLst>
              </a:tr>
            </a:tbl>
          </a:graphicData>
        </a:graphic>
      </p:graphicFrame>
      <p:pic>
        <p:nvPicPr>
          <p:cNvPr id="2" name="Image 1" descr="Une image contenant assis, table, blanc, pièce&#10;&#10;Description générée automatiquement">
            <a:extLst>
              <a:ext uri="{FF2B5EF4-FFF2-40B4-BE49-F238E27FC236}">
                <a16:creationId xmlns:a16="http://schemas.microsoft.com/office/drawing/2014/main" id="{4B6CF8BF-CEBC-6764-1735-9718839F8AA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85" t="24067" r="28218" b="22000"/>
          <a:stretch/>
        </p:blipFill>
        <p:spPr>
          <a:xfrm>
            <a:off x="10593116" y="0"/>
            <a:ext cx="1459903" cy="2777453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5961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1E2DC39-35C1-274A-A3DE-E11E1F4111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02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34B51B9-D210-4610-911A-3594AE3B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NED MINED CAVERN STORAGE</a:t>
            </a: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1344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4JHhrbUmUrvlappXJ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4JHhrbUmUrvlappXJ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4JHhrbUmUrvlappXJ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4JHhrbUmUrvlappXJsA"/>
</p:tagLst>
</file>

<file path=ppt/theme/theme1.xml><?xml version="1.0" encoding="utf-8"?>
<a:theme xmlns:a="http://schemas.openxmlformats.org/drawingml/2006/main" name="Thème Office">
  <a:themeElements>
    <a:clrScheme name="Geostock">
      <a:dk1>
        <a:srgbClr val="000000"/>
      </a:dk1>
      <a:lt1>
        <a:srgbClr val="FFFFFF"/>
      </a:lt1>
      <a:dk2>
        <a:srgbClr val="004489"/>
      </a:dk2>
      <a:lt2>
        <a:srgbClr val="FFFFFF"/>
      </a:lt2>
      <a:accent1>
        <a:srgbClr val="EB6927"/>
      </a:accent1>
      <a:accent2>
        <a:srgbClr val="CD0077"/>
      </a:accent2>
      <a:accent3>
        <a:srgbClr val="6D207C"/>
      </a:accent3>
      <a:accent4>
        <a:srgbClr val="55609F"/>
      </a:accent4>
      <a:accent5>
        <a:srgbClr val="2AAD89"/>
      </a:accent5>
      <a:accent6>
        <a:srgbClr val="696965"/>
      </a:accent6>
      <a:hlink>
        <a:srgbClr val="004489"/>
      </a:hlink>
      <a:folHlink>
        <a:srgbClr val="E2002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</TotalTime>
  <Words>835</Words>
  <Application>Microsoft Office PowerPoint</Application>
  <PresentationFormat>Grand écran</PresentationFormat>
  <Paragraphs>158</Paragraphs>
  <Slides>16</Slides>
  <Notes>7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6" baseType="lpstr">
      <vt:lpstr>Arial</vt:lpstr>
      <vt:lpstr>Calibri</vt:lpstr>
      <vt:lpstr>Gotham Bold</vt:lpstr>
      <vt:lpstr>Myriad Pro</vt:lpstr>
      <vt:lpstr>VINCI</vt:lpstr>
      <vt:lpstr>Vinci Sans</vt:lpstr>
      <vt:lpstr>Vinci Sans </vt:lpstr>
      <vt:lpstr>Vinci Sans Expanded Medium</vt:lpstr>
      <vt:lpstr>Vinci Sans Medium</vt:lpstr>
      <vt:lpstr>Thème Office</vt:lpstr>
      <vt:lpstr>Présentation PowerPoint</vt:lpstr>
      <vt:lpstr>UNDERGROUND STORAGE OF AMMONIA (NH3)</vt:lpstr>
      <vt:lpstr>Underground storage techniques</vt:lpstr>
      <vt:lpstr>Why storing ammonia ?</vt:lpstr>
      <vt:lpstr>SPECIFICITY OF AMMONIA (NH3)</vt:lpstr>
      <vt:lpstr>EXISTING STORAGES IN                    UNLINED MINED ROCK CAVERN </vt:lpstr>
      <vt:lpstr>Pictures of Unlined Mined Rock Cavern</vt:lpstr>
      <vt:lpstr>Underground storages of Ammonia - existing</vt:lpstr>
      <vt:lpstr>LINED MINED CAVERN STORAGE </vt:lpstr>
      <vt:lpstr>Lined rock cavern for liquid H2 carrier : NH3</vt:lpstr>
      <vt:lpstr>LINED MINED CAVERN</vt:lpstr>
      <vt:lpstr>NH3 lined rock cavern – easier than H2 lined rock cavern</vt:lpstr>
      <vt:lpstr>SALT CAVERN- and POROUS MEDIA </vt:lpstr>
      <vt:lpstr>Salt cavern and porous media</vt:lpstr>
      <vt:lpstr>Bring back to Offic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Microsoft Office User</dc:creator>
  <cp:lastModifiedBy>TORQUET Matthias</cp:lastModifiedBy>
  <cp:revision>80</cp:revision>
  <dcterms:created xsi:type="dcterms:W3CDTF">2021-07-29T13:46:29Z</dcterms:created>
  <dcterms:modified xsi:type="dcterms:W3CDTF">2023-05-19T12:27:43Z</dcterms:modified>
</cp:coreProperties>
</file>